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media/image8.bin" ContentType="image/unknown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6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7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89" r:id="rId2"/>
    <p:sldMasterId id="2147483674" r:id="rId3"/>
    <p:sldMasterId id="2147483697" r:id="rId4"/>
    <p:sldMasterId id="2147483720" r:id="rId5"/>
    <p:sldMasterId id="2147483743" r:id="rId6"/>
    <p:sldMasterId id="2147483766" r:id="rId7"/>
    <p:sldMasterId id="2147483792" r:id="rId8"/>
  </p:sldMasterIdLst>
  <p:notesMasterIdLst>
    <p:notesMasterId r:id="rId65"/>
  </p:notesMasterIdLst>
  <p:sldIdLst>
    <p:sldId id="2147482479" r:id="rId9"/>
    <p:sldId id="2147482616" r:id="rId10"/>
    <p:sldId id="2147482472" r:id="rId11"/>
    <p:sldId id="2147482612" r:id="rId12"/>
    <p:sldId id="2147482524" r:id="rId13"/>
    <p:sldId id="2134806766" r:id="rId14"/>
    <p:sldId id="2134806831" r:id="rId15"/>
    <p:sldId id="2147482477" r:id="rId16"/>
    <p:sldId id="2134807274" r:id="rId17"/>
    <p:sldId id="2134807211" r:id="rId18"/>
    <p:sldId id="2134807213" r:id="rId19"/>
    <p:sldId id="2134807275" r:id="rId20"/>
    <p:sldId id="2147482478" r:id="rId21"/>
    <p:sldId id="2134807246" r:id="rId22"/>
    <p:sldId id="2134807262" r:id="rId23"/>
    <p:sldId id="2134807263" r:id="rId24"/>
    <p:sldId id="2134807264" r:id="rId25"/>
    <p:sldId id="2134807265" r:id="rId26"/>
    <p:sldId id="2134807266" r:id="rId27"/>
    <p:sldId id="2147482354" r:id="rId28"/>
    <p:sldId id="2134807215" r:id="rId29"/>
    <p:sldId id="2134807237" r:id="rId30"/>
    <p:sldId id="2134807267" r:id="rId31"/>
    <p:sldId id="2134807268" r:id="rId32"/>
    <p:sldId id="2134807269" r:id="rId33"/>
    <p:sldId id="2134807270" r:id="rId34"/>
    <p:sldId id="2134807272" r:id="rId35"/>
    <p:sldId id="2134807273" r:id="rId36"/>
    <p:sldId id="2134807247" r:id="rId37"/>
    <p:sldId id="2134807248" r:id="rId38"/>
    <p:sldId id="2134807249" r:id="rId39"/>
    <p:sldId id="2134807250" r:id="rId40"/>
    <p:sldId id="2147482355" r:id="rId41"/>
    <p:sldId id="2147482356" r:id="rId42"/>
    <p:sldId id="2134807251" r:id="rId43"/>
    <p:sldId id="2134807252" r:id="rId44"/>
    <p:sldId id="2134807253" r:id="rId45"/>
    <p:sldId id="2134807254" r:id="rId46"/>
    <p:sldId id="2134807255" r:id="rId47"/>
    <p:sldId id="2134807256" r:id="rId48"/>
    <p:sldId id="2134807257" r:id="rId49"/>
    <p:sldId id="2134807261" r:id="rId50"/>
    <p:sldId id="2147482476" r:id="rId51"/>
    <p:sldId id="2134807243" r:id="rId52"/>
    <p:sldId id="2134807219" r:id="rId53"/>
    <p:sldId id="2134807234" r:id="rId54"/>
    <p:sldId id="2134807240" r:id="rId55"/>
    <p:sldId id="2134807241" r:id="rId56"/>
    <p:sldId id="2134807242" r:id="rId57"/>
    <p:sldId id="2134807244" r:id="rId58"/>
    <p:sldId id="2134807235" r:id="rId59"/>
    <p:sldId id="2134807239" r:id="rId60"/>
    <p:sldId id="2134807245" r:id="rId61"/>
    <p:sldId id="2134807238" r:id="rId62"/>
    <p:sldId id="2147482503" r:id="rId63"/>
    <p:sldId id="2134806149" r:id="rId6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D7C"/>
    <a:srgbClr val="424D7B"/>
    <a:srgbClr val="106585"/>
    <a:srgbClr val="1E3F48"/>
    <a:srgbClr val="0097B2"/>
    <a:srgbClr val="00729A"/>
    <a:srgbClr val="70B1B6"/>
    <a:srgbClr val="7FB9BE"/>
    <a:srgbClr val="D6E9EA"/>
    <a:srgbClr val="C3D2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265" autoAdjust="0"/>
    <p:restoredTop sz="94641" autoAdjust="0"/>
  </p:normalViewPr>
  <p:slideViewPr>
    <p:cSldViewPr snapToGrid="0">
      <p:cViewPr varScale="1">
        <p:scale>
          <a:sx n="71" d="100"/>
          <a:sy n="71" d="100"/>
        </p:scale>
        <p:origin x="660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viewProps" Target="view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Microsoft Uighur" panose="02000000000000000000" pitchFamily="2" charset="-78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Microsoft Uighur" panose="02000000000000000000" pitchFamily="2" charset="-78"/>
              </a:defRPr>
            </a:lvl1pPr>
          </a:lstStyle>
          <a:p>
            <a:fld id="{C7DCA217-871D-4D7F-8D59-C83A4C9C5EB2}" type="datetimeFigureOut">
              <a:rPr lang="fr-FR" smtClean="0"/>
              <a:pPr/>
              <a:t>31/10/2025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Microsoft Uighur" panose="02000000000000000000" pitchFamily="2" charset="-78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Microsoft Uighur" panose="02000000000000000000" pitchFamily="2" charset="-78"/>
              </a:defRPr>
            </a:lvl1pPr>
          </a:lstStyle>
          <a:p>
            <a:fld id="{9023364E-F43C-462A-A32F-C389FF427F4A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6917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icrosoft Uighur" panose="02000000000000000000" pitchFamily="2" charset="-78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icrosoft Uighur" panose="02000000000000000000" pitchFamily="2" charset="-78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icrosoft Uighur" panose="02000000000000000000" pitchFamily="2" charset="-78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icrosoft Uighur" panose="02000000000000000000" pitchFamily="2" charset="-78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icrosoft Uighur" panose="02000000000000000000" pitchFamily="2" charset="-7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1.png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1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3.wdp"/><Relationship Id="rId5" Type="http://schemas.openxmlformats.org/officeDocument/2006/relationships/image" Target="../media/image14.png"/><Relationship Id="rId10" Type="http://schemas.microsoft.com/office/2007/relationships/hdphoto" Target="../media/hdphoto5.wdp"/><Relationship Id="rId4" Type="http://schemas.microsoft.com/office/2007/relationships/hdphoto" Target="../media/hdphoto2.wdp"/><Relationship Id="rId9" Type="http://schemas.openxmlformats.org/officeDocument/2006/relationships/image" Target="../media/image16.png"/></Relationships>
</file>

<file path=ppt/slideLayouts/_rels/slideLayout132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3.wdp"/><Relationship Id="rId5" Type="http://schemas.openxmlformats.org/officeDocument/2006/relationships/image" Target="../media/image14.png"/><Relationship Id="rId10" Type="http://schemas.microsoft.com/office/2007/relationships/hdphoto" Target="../media/hdphoto5.wdp"/><Relationship Id="rId4" Type="http://schemas.microsoft.com/office/2007/relationships/hdphoto" Target="../media/hdphoto2.wdp"/><Relationship Id="rId9" Type="http://schemas.openxmlformats.org/officeDocument/2006/relationships/image" Target="../media/image16.png"/></Relationships>
</file>

<file path=ppt/slideLayouts/_rels/slideLayout133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3.wdp"/><Relationship Id="rId5" Type="http://schemas.openxmlformats.org/officeDocument/2006/relationships/image" Target="../media/image14.png"/><Relationship Id="rId10" Type="http://schemas.microsoft.com/office/2007/relationships/hdphoto" Target="../media/hdphoto5.wdp"/><Relationship Id="rId4" Type="http://schemas.microsoft.com/office/2007/relationships/hdphoto" Target="../media/hdphoto2.wdp"/><Relationship Id="rId9" Type="http://schemas.openxmlformats.org/officeDocument/2006/relationships/image" Target="../media/image16.png"/></Relationships>
</file>

<file path=ppt/slideLayouts/_rels/slideLayout134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3.wdp"/><Relationship Id="rId5" Type="http://schemas.openxmlformats.org/officeDocument/2006/relationships/image" Target="../media/image14.png"/><Relationship Id="rId10" Type="http://schemas.microsoft.com/office/2007/relationships/hdphoto" Target="../media/hdphoto5.wdp"/><Relationship Id="rId4" Type="http://schemas.microsoft.com/office/2007/relationships/hdphoto" Target="../media/hdphoto2.wdp"/><Relationship Id="rId9" Type="http://schemas.openxmlformats.org/officeDocument/2006/relationships/image" Target="../media/image16.png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5.png"/><Relationship Id="rId5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microsoft.com/office/2007/relationships/hdphoto" Target="../media/hdphoto5.wdp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5.png"/><Relationship Id="rId5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microsoft.com/office/2007/relationships/hdphoto" Target="../media/hdphoto5.wdp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5.png"/><Relationship Id="rId5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microsoft.com/office/2007/relationships/hdphoto" Target="../media/hdphoto5.wdp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microsoft.com/office/2007/relationships/hdphoto" Target="../media/hdphoto2.wdp"/><Relationship Id="rId7" Type="http://schemas.microsoft.com/office/2007/relationships/hdphoto" Target="../media/hdphoto5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.png"/><Relationship Id="rId5" Type="http://schemas.microsoft.com/office/2007/relationships/hdphoto" Target="../media/hdphoto4.wdp"/><Relationship Id="rId4" Type="http://schemas.openxmlformats.org/officeDocument/2006/relationships/image" Target="../media/image15.png"/><Relationship Id="rId9" Type="http://schemas.microsoft.com/office/2007/relationships/hdphoto" Target="../media/hdphoto3.wdp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7745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5577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8206879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77495327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36181291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38826099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66732400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49707080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1775791"/>
      </p:ext>
    </p:extLst>
  </p:cSld>
  <p:clrMapOvr>
    <a:masterClrMapping/>
  </p:clrMapOvr>
  <p:transition spd="slow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85141410"/>
      </p:ext>
    </p:extLst>
  </p:cSld>
  <p:clrMapOvr>
    <a:masterClrMapping/>
  </p:clrMapOvr>
  <p:transition spd="slow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60508737"/>
      </p:ext>
    </p:extLst>
  </p:cSld>
  <p:clrMapOvr>
    <a:masterClrMapping/>
  </p:clrMapOvr>
  <p:transition spd="slow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48231217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163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73489194"/>
      </p:ext>
    </p:extLst>
  </p:cSld>
  <p:clrMapOvr>
    <a:masterClrMapping/>
  </p:clrMapOvr>
  <p:transition spd="slow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34203353"/>
      </p:ext>
    </p:extLst>
  </p:cSld>
  <p:clrMapOvr>
    <a:masterClrMapping/>
  </p:clrMapOvr>
  <p:transition spd="slow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41671096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01522259"/>
      </p:ext>
    </p:extLst>
  </p:cSld>
  <p:clrMapOvr>
    <a:masterClrMapping/>
  </p:clrMapOvr>
  <p:transition spd="slow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1652627"/>
      </p:ext>
    </p:extLst>
  </p:cSld>
  <p:clrMapOvr>
    <a:masterClrMapping/>
  </p:clrMapOvr>
  <p:transition spd="slow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24265309"/>
      </p:ext>
    </p:extLst>
  </p:cSld>
  <p:clrMapOvr>
    <a:masterClrMapping/>
  </p:clrMapOvr>
  <p:transition spd="slow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65882848"/>
      </p:ext>
    </p:extLst>
  </p:cSld>
  <p:clrMapOvr>
    <a:masterClrMapping/>
  </p:clrMapOvr>
  <p:transition spd="slow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31718626"/>
      </p:ext>
    </p:extLst>
  </p:cSld>
  <p:clrMapOvr>
    <a:masterClrMapping/>
  </p:clrMapOvr>
  <p:transition spd="slow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29891113"/>
      </p:ext>
    </p:extLst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0270905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66992284"/>
      </p:ext>
    </p:extLst>
  </p:cSld>
  <p:clrMapOvr>
    <a:masterClrMapping/>
  </p:clrMapOvr>
  <p:transition spd="slow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54202063"/>
      </p:ext>
    </p:extLst>
  </p:cSld>
  <p:clrMapOvr>
    <a:masterClrMapping/>
  </p:clrMapOvr>
  <p:transition spd="slow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27080644"/>
      </p:ext>
    </p:extLst>
  </p:cSld>
  <p:clrMapOvr>
    <a:masterClrMapping/>
  </p:clrMapOvr>
  <p:transition spd="slow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44309518"/>
      </p:ext>
    </p:extLst>
  </p:cSld>
  <p:clrMapOvr>
    <a:masterClrMapping/>
  </p:clrMapOvr>
  <p:transition spd="slow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87125443"/>
      </p:ext>
    </p:extLst>
  </p:cSld>
  <p:clrMapOvr>
    <a:masterClrMapping/>
  </p:clrMapOvr>
  <p:transition spd="slow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59020784"/>
      </p:ext>
    </p:extLst>
  </p:cSld>
  <p:clrMapOvr>
    <a:masterClrMapping/>
  </p:clrMapOvr>
  <p:transition spd="slow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68658462"/>
      </p:ext>
    </p:extLst>
  </p:cSld>
  <p:clrMapOvr>
    <a:masterClrMapping/>
  </p:clrMapOvr>
  <p:transition spd="slow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48372550"/>
      </p:ext>
    </p:extLst>
  </p:cSld>
  <p:clrMapOvr>
    <a:masterClrMapping/>
  </p:clrMapOvr>
  <p:transition spd="slow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18972317"/>
      </p:ext>
    </p:extLst>
  </p:cSld>
  <p:clrMapOvr>
    <a:masterClrMapping/>
  </p:clrMapOvr>
  <p:transition spd="slow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B7A934E9-D4E5-7ECD-3F55-B99D240A27CF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972000" y="1587500"/>
            <a:ext cx="7200000" cy="432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578380779"/>
      </p:ext>
    </p:extLst>
  </p:cSld>
  <p:clrMapOvr>
    <a:masterClrMapping/>
  </p:clrMapOvr>
  <p:transition spd="slow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F2A5A2-07B7-D4DA-50E5-C4F55CED7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8757AEE0-EDAD-BCFA-B0C1-E3F26DF7BDB0}"/>
              </a:ext>
            </a:extLst>
          </p:cNvPr>
          <p:cNvGrpSpPr/>
          <p:nvPr userDrawn="1"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F1E9647-C23F-0AB7-101C-32D0969E9F60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4" name="Organigramme : Terminateur 3">
              <a:extLst>
                <a:ext uri="{FF2B5EF4-FFF2-40B4-BE49-F238E27FC236}">
                  <a16:creationId xmlns:a16="http://schemas.microsoft.com/office/drawing/2014/main" id="{DD7159A8-5CAC-1F2F-AA5A-44097860B98F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DD42F6F4-087E-E434-BA2D-3E6C35CBE2D3}"/>
              </a:ext>
            </a:extLst>
          </p:cNvPr>
          <p:cNvGrpSpPr/>
          <p:nvPr userDrawn="1"/>
        </p:nvGrpSpPr>
        <p:grpSpPr>
          <a:xfrm flipH="1">
            <a:off x="628649" y="5023288"/>
            <a:ext cx="3780000" cy="1332000"/>
            <a:chOff x="628649" y="5023288"/>
            <a:chExt cx="3780000" cy="1332000"/>
          </a:xfrm>
        </p:grpSpPr>
        <p:sp>
          <p:nvSpPr>
            <p:cNvPr id="5" name="Rectangle : coins arrondis 4">
              <a:extLst>
                <a:ext uri="{FF2B5EF4-FFF2-40B4-BE49-F238E27FC236}">
                  <a16:creationId xmlns:a16="http://schemas.microsoft.com/office/drawing/2014/main" id="{C29B8546-2300-CF26-DE2E-38073503AB14}"/>
                </a:ext>
              </a:extLst>
            </p:cNvPr>
            <p:cNvSpPr/>
            <p:nvPr userDrawn="1"/>
          </p:nvSpPr>
          <p:spPr>
            <a:xfrm>
              <a:off x="628649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6" name="Organigramme : Terminateur 5">
              <a:extLst>
                <a:ext uri="{FF2B5EF4-FFF2-40B4-BE49-F238E27FC236}">
                  <a16:creationId xmlns:a16="http://schemas.microsoft.com/office/drawing/2014/main" id="{9F63B16B-0D64-E4B7-A02B-5B9E10FD9E1A}"/>
                </a:ext>
              </a:extLst>
            </p:cNvPr>
            <p:cNvSpPr/>
            <p:nvPr userDrawn="1"/>
          </p:nvSpPr>
          <p:spPr>
            <a:xfrm>
              <a:off x="844649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6 - </a:t>
              </a: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8F03523-197D-A46E-FA54-91A6AFF7F28C}"/>
              </a:ext>
            </a:extLst>
          </p:cNvPr>
          <p:cNvGrpSpPr/>
          <p:nvPr userDrawn="1"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076ABA10-32B5-B604-0B98-F854920B1C35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8" name="Organigramme : Terminateur 7">
              <a:extLst>
                <a:ext uri="{FF2B5EF4-FFF2-40B4-BE49-F238E27FC236}">
                  <a16:creationId xmlns:a16="http://schemas.microsoft.com/office/drawing/2014/main" id="{8D09FAA9-8B01-B85B-6AD2-AA1306C99B4F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2 - </a:t>
              </a:r>
              <a:endPara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7C6E9F6-C279-AB3D-B941-74079D24BBA4}"/>
              </a:ext>
            </a:extLst>
          </p:cNvPr>
          <p:cNvGrpSpPr/>
          <p:nvPr userDrawn="1"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43917791-49A0-A179-89BD-9B276594FD5C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0" name="Organigramme : Terminateur 9">
              <a:extLst>
                <a:ext uri="{FF2B5EF4-FFF2-40B4-BE49-F238E27FC236}">
                  <a16:creationId xmlns:a16="http://schemas.microsoft.com/office/drawing/2014/main" id="{F9D3FD68-51AA-4AAC-DA0F-FC1598DFD10B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5 -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C3FC77E3-3855-7B01-0EC8-80864EDB69DD}"/>
              </a:ext>
            </a:extLst>
          </p:cNvPr>
          <p:cNvGrpSpPr/>
          <p:nvPr userDrawn="1"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CC537851-8C6F-4D1B-3353-B99C763FE6F0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2" name="Organigramme : Terminateur 11">
              <a:extLst>
                <a:ext uri="{FF2B5EF4-FFF2-40B4-BE49-F238E27FC236}">
                  <a16:creationId xmlns:a16="http://schemas.microsoft.com/office/drawing/2014/main" id="{E95BC511-E9AF-223A-8E8C-7786DA7A9B1E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1 - </a:t>
              </a:r>
            </a:p>
          </p:txBody>
        </p:sp>
      </p:grp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D174E1EA-100E-B3C4-9105-A0B081A78EFB}"/>
              </a:ext>
            </a:extLst>
          </p:cNvPr>
          <p:cNvSpPr txBox="1">
            <a:spLocks/>
          </p:cNvSpPr>
          <p:nvPr userDrawn="1"/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defPPr>
              <a:defRPr lang="fr-FR"/>
            </a:defPPr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Révision</a:t>
            </a:r>
          </a:p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Lecture offerte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C5080DA-EEE4-B0DB-4320-B6333D61EC3F}"/>
              </a:ext>
            </a:extLst>
          </p:cNvPr>
          <p:cNvGrpSpPr/>
          <p:nvPr userDrawn="1"/>
        </p:nvGrpSpPr>
        <p:grpSpPr>
          <a:xfrm flipH="1">
            <a:off x="648000" y="1944000"/>
            <a:ext cx="3780000" cy="1332000"/>
            <a:chOff x="648000" y="1944000"/>
            <a:chExt cx="3780000" cy="133200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FF956EF7-1C04-B75A-99DB-1610B0777584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20" name="Organigramme : Terminateur 19">
              <a:extLst>
                <a:ext uri="{FF2B5EF4-FFF2-40B4-BE49-F238E27FC236}">
                  <a16:creationId xmlns:a16="http://schemas.microsoft.com/office/drawing/2014/main" id="{E1429BD4-3BA4-BBFA-4BEF-AD11475F7BBB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4 - </a:t>
              </a:r>
            </a:p>
          </p:txBody>
        </p:sp>
      </p:grp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5309429C-1039-2C54-E46D-AB6F245EAE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0611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id="{804D03EF-3A2B-E15D-3E5B-9B72509A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id="{37C3B835-3703-D664-EDC0-5591556519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du texte 25">
            <a:extLst>
              <a:ext uri="{FF2B5EF4-FFF2-40B4-BE49-F238E27FC236}">
                <a16:creationId xmlns:a16="http://schemas.microsoft.com/office/drawing/2014/main" id="{17275B2B-E189-AEF4-7C55-C06676186A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id="{35F22259-A426-1C6B-4A60-50940908B1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611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B9583407-B6F3-0B8E-9991-D458D8A7CB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43916686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e 32">
            <a:extLst>
              <a:ext uri="{FF2B5EF4-FFF2-40B4-BE49-F238E27FC236}">
                <a16:creationId xmlns:a16="http://schemas.microsoft.com/office/drawing/2014/main" id="{DEE5DF2A-A2C5-9DDC-2526-F329CE533D62}"/>
              </a:ext>
            </a:extLst>
          </p:cNvPr>
          <p:cNvGrpSpPr/>
          <p:nvPr userDrawn="1"/>
        </p:nvGrpSpPr>
        <p:grpSpPr>
          <a:xfrm>
            <a:off x="1748749" y="4501845"/>
            <a:ext cx="5368645" cy="1013653"/>
            <a:chOff x="1748749" y="1791236"/>
            <a:chExt cx="5368645" cy="1013653"/>
          </a:xfrm>
        </p:grpSpPr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F869710-FE9A-677D-2DED-7221C5922D8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5" name="Rectangle : coins arrondis 34">
              <a:extLst>
                <a:ext uri="{FF2B5EF4-FFF2-40B4-BE49-F238E27FC236}">
                  <a16:creationId xmlns:a16="http://schemas.microsoft.com/office/drawing/2014/main" id="{77F6BDE5-2CD1-90CD-2054-C65021FC3B1E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64F060CB-5859-7A1C-1945-399BF4432E18}"/>
              </a:ext>
            </a:extLst>
          </p:cNvPr>
          <p:cNvGrpSpPr/>
          <p:nvPr userDrawn="1"/>
        </p:nvGrpSpPr>
        <p:grpSpPr>
          <a:xfrm>
            <a:off x="1748749" y="3233540"/>
            <a:ext cx="5368645" cy="1013653"/>
            <a:chOff x="1748749" y="1791236"/>
            <a:chExt cx="5368645" cy="1013653"/>
          </a:xfrm>
        </p:grpSpPr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6C7D7D1B-54A2-EE56-FF38-BA1C4D631D96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EBF7EB9F-D0CB-C146-C0DF-1FEA97915CD3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5A53ADCC-F9EE-1544-60CF-B13B748987BA}"/>
              </a:ext>
            </a:extLst>
          </p:cNvPr>
          <p:cNvGrpSpPr/>
          <p:nvPr userDrawn="1"/>
        </p:nvGrpSpPr>
        <p:grpSpPr>
          <a:xfrm>
            <a:off x="1748749" y="1924402"/>
            <a:ext cx="5368645" cy="1013653"/>
            <a:chOff x="1748749" y="1791236"/>
            <a:chExt cx="5368645" cy="1013653"/>
          </a:xfrm>
        </p:grpSpPr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5C479736-F023-78FA-4D69-3C86D60DBD0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631E814A-6B8A-876F-B330-D29CBCDCBA25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9063" y="1984964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913731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انشطة اعتيادية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86103" y="57326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1207" y="3277705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4749554" y="3233230"/>
            <a:ext cx="1677544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R="0" lvl="0" indent="0" algn="r" defTabSz="914400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cs typeface="Microsoft Uighur" panose="02000000000000000000" pitchFamily="2" charset="-78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54786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768638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99507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115519" y="4510017"/>
            <a:ext cx="13115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القراءة الإثرائية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82465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271861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8B7457-BEA6-4AC9-8BA0-D7C7D26C875C}"/>
              </a:ext>
            </a:extLst>
          </p:cNvPr>
          <p:cNvSpPr/>
          <p:nvPr userDrawn="1"/>
        </p:nvSpPr>
        <p:spPr>
          <a:xfrm>
            <a:off x="3870526" y="3408278"/>
            <a:ext cx="1847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fr-FR" sz="1400" b="1" i="0" u="none" strike="noStrike" cap="none" dirty="0">
              <a:solidFill>
                <a:srgbClr val="757575"/>
              </a:solidFill>
              <a:latin typeface="Microsoft Uighur" panose="02000000000000000000" pitchFamily="2" charset="-78"/>
              <a:ea typeface="Arial"/>
              <a:cs typeface="Microsoft Uighur" panose="02000000000000000000" pitchFamily="2" charset="-78"/>
              <a:sym typeface="Arial"/>
            </a:endParaRPr>
          </a:p>
          <a:p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6C65ABD-82AE-76B7-8D2F-EF76198DF2D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602799" y="4578571"/>
            <a:ext cx="424748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80151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F45224-BA7F-8144-8607-A09DDE370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6039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F34C4EC-38D2-DF0E-79EE-51FD9A9B44D8}"/>
              </a:ext>
            </a:extLst>
          </p:cNvPr>
          <p:cNvSpPr/>
          <p:nvPr userDrawn="1"/>
        </p:nvSpPr>
        <p:spPr>
          <a:xfrm>
            <a:off x="612000" y="2196000"/>
            <a:ext cx="3780000" cy="1080000"/>
          </a:xfrm>
          <a:prstGeom prst="roundRect">
            <a:avLst/>
          </a:prstGeom>
          <a:solidFill>
            <a:srgbClr val="A1D6EC"/>
          </a:solidFill>
          <a:ln>
            <a:solidFill>
              <a:schemeClr val="accent5"/>
            </a:solidFill>
          </a:ln>
          <a:effectLst>
            <a:outerShdw blurRad="38100" dist="25400" dir="2700000" algn="tl" rotWithShape="0">
              <a:srgbClr val="00B0F0">
                <a:alpha val="4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id="{38E0A981-512D-DDF2-8598-875BCCC3C132}"/>
              </a:ext>
            </a:extLst>
          </p:cNvPr>
          <p:cNvSpPr/>
          <p:nvPr userDrawn="1"/>
        </p:nvSpPr>
        <p:spPr>
          <a:xfrm>
            <a:off x="828000" y="194400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9368326-A537-80A0-9302-1EE9F91FF3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000" y="2395639"/>
            <a:ext cx="3420000" cy="792000"/>
          </a:xfrm>
          <a:prstGeom prst="roundRect">
            <a:avLst/>
          </a:prstGeom>
          <a:solidFill>
            <a:srgbClr val="E6F3FA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>
                <a:solidFill>
                  <a:srgbClr val="474F71"/>
                </a:solidFill>
                <a:latin typeface="Microsoft Uighur" panose="02000000000000000000" pitchFamily="2" charset="-78"/>
                <a:sym typeface="Wingdings" panose="05000000000000000000" pitchFamily="2" charset="2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474F71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876AB203-C4D4-63C1-C9BD-6180ADF322D9}"/>
              </a:ext>
            </a:extLst>
          </p:cNvPr>
          <p:cNvSpPr/>
          <p:nvPr userDrawn="1"/>
        </p:nvSpPr>
        <p:spPr>
          <a:xfrm>
            <a:off x="4716000" y="2196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8" name="Organigramme : Terminateur 7">
            <a:extLst>
              <a:ext uri="{FF2B5EF4-FFF2-40B4-BE49-F238E27FC236}">
                <a16:creationId xmlns:a16="http://schemas.microsoft.com/office/drawing/2014/main" id="{72211034-E5CD-05DB-42AD-0BC0C22E5903}"/>
              </a:ext>
            </a:extLst>
          </p:cNvPr>
          <p:cNvSpPr/>
          <p:nvPr userDrawn="1"/>
        </p:nvSpPr>
        <p:spPr>
          <a:xfrm>
            <a:off x="4932000" y="1944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4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3A2F45E5-0D2B-B4F1-5CD0-221F082189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96000" y="2395639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28C7C5B-D002-002E-FEE3-B7A0B6B29B84}"/>
              </a:ext>
            </a:extLst>
          </p:cNvPr>
          <p:cNvSpPr/>
          <p:nvPr userDrawn="1"/>
        </p:nvSpPr>
        <p:spPr>
          <a:xfrm>
            <a:off x="628649" y="3708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8" name="Organigramme : Terminateur 17">
            <a:extLst>
              <a:ext uri="{FF2B5EF4-FFF2-40B4-BE49-F238E27FC236}">
                <a16:creationId xmlns:a16="http://schemas.microsoft.com/office/drawing/2014/main" id="{A35578E3-0C86-555B-DF74-F22BC26A843E}"/>
              </a:ext>
            </a:extLst>
          </p:cNvPr>
          <p:cNvSpPr/>
          <p:nvPr userDrawn="1"/>
        </p:nvSpPr>
        <p:spPr>
          <a:xfrm>
            <a:off x="828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2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FE19DBD7-3323-C0FE-A7C0-054D4D6947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649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A8DBAB32-5108-FCF6-2E8F-44876E1F3A86}"/>
              </a:ext>
            </a:extLst>
          </p:cNvPr>
          <p:cNvSpPr/>
          <p:nvPr userDrawn="1"/>
        </p:nvSpPr>
        <p:spPr>
          <a:xfrm>
            <a:off x="628649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Organigramme : Terminateur 20">
            <a:extLst>
              <a:ext uri="{FF2B5EF4-FFF2-40B4-BE49-F238E27FC236}">
                <a16:creationId xmlns:a16="http://schemas.microsoft.com/office/drawing/2014/main" id="{B810E982-403C-2AEF-3862-CB8B7F890D65}"/>
              </a:ext>
            </a:extLst>
          </p:cNvPr>
          <p:cNvSpPr/>
          <p:nvPr userDrawn="1"/>
        </p:nvSpPr>
        <p:spPr>
          <a:xfrm>
            <a:off x="828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3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78E4694-7E2B-3E51-F604-26B60BCB0C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09EF5DAB-AFE5-A7BB-ECBF-E6D0E54DC52C}"/>
              </a:ext>
            </a:extLst>
          </p:cNvPr>
          <p:cNvSpPr/>
          <p:nvPr userDrawn="1"/>
        </p:nvSpPr>
        <p:spPr>
          <a:xfrm>
            <a:off x="4735350" y="3734113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4" name="Organigramme : Terminateur 23">
            <a:extLst>
              <a:ext uri="{FF2B5EF4-FFF2-40B4-BE49-F238E27FC236}">
                <a16:creationId xmlns:a16="http://schemas.microsoft.com/office/drawing/2014/main" id="{867828EE-B1E5-9F8B-0D7C-A5A846A60ACE}"/>
              </a:ext>
            </a:extLst>
          </p:cNvPr>
          <p:cNvSpPr/>
          <p:nvPr userDrawn="1"/>
        </p:nvSpPr>
        <p:spPr>
          <a:xfrm>
            <a:off x="4932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5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DD324492-66B3-DE4C-8000-A60CFAE496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15350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EF2B26AA-471C-2E08-9C98-93BB32368F48}"/>
              </a:ext>
            </a:extLst>
          </p:cNvPr>
          <p:cNvSpPr/>
          <p:nvPr userDrawn="1"/>
        </p:nvSpPr>
        <p:spPr>
          <a:xfrm>
            <a:off x="4735350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7" name="Organigramme : Terminateur 26">
            <a:extLst>
              <a:ext uri="{FF2B5EF4-FFF2-40B4-BE49-F238E27FC236}">
                <a16:creationId xmlns:a16="http://schemas.microsoft.com/office/drawing/2014/main" id="{48A37FD4-80CC-1828-6DF5-5882F04CAB2A}"/>
              </a:ext>
            </a:extLst>
          </p:cNvPr>
          <p:cNvSpPr/>
          <p:nvPr userDrawn="1"/>
        </p:nvSpPr>
        <p:spPr>
          <a:xfrm>
            <a:off x="4932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6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36806FA2-43DA-8964-E325-6EA0415866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15350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003655840"/>
      </p:ext>
    </p:extLst>
  </p:cSld>
  <p:clrMapOvr>
    <a:masterClrMapping/>
  </p:clrMapOvr>
  <p:transition spd="slow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01823046"/>
      </p:ext>
    </p:extLst>
  </p:cSld>
  <p:clrMapOvr>
    <a:masterClrMapping/>
  </p:clrMapOvr>
  <p:transition spd="slow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14306649"/>
      </p:ext>
    </p:extLst>
  </p:cSld>
  <p:clrMapOvr>
    <a:masterClrMapping/>
  </p:clrMapOvr>
  <p:transition spd="slow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07225" y="3404242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5625030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340566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551387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551387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551387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80883957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ar-MA" dirty="0"/>
              <a:t>هيكلة حصة اليوم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45925705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23843" y="2190869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6190420" y="2150869"/>
            <a:ext cx="76976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314000" y="195068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69824511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02387431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6BAD3D9-AD58-179C-B69E-830F87AB1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C07E0A2-EA33-DE3C-110B-9BF33762DD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50E2FFA-A2BC-19B6-2E21-52362DDA208C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01B804A5-6AAB-7FA2-7E6D-C43CE6A9B2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4" name="Espace réservé pour une image  26">
            <a:extLst>
              <a:ext uri="{FF2B5EF4-FFF2-40B4-BE49-F238E27FC236}">
                <a16:creationId xmlns:a16="http://schemas.microsoft.com/office/drawing/2014/main" id="{1B168C30-0497-899C-FCA3-02A763CF9BD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51527204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56875443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55593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24487035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62401580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57025201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9415154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1502112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95136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63223426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46517358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06870632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29968729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2542666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66859386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0480300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8278244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43491131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31008514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00003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20622111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05050144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84275517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91292559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2553679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62745892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39806562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0245772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78996539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52731974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5292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15174098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82875516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87965768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28502164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85938644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83138535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10575143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92042563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86349486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78015411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07819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25487147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8669380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4465543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37410774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64319721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15625503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16250174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44422831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1512439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75526294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80529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99049622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19981752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94545838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91300027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60090218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9104695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81899630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36326227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5682958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62894472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4662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66829018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03691545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10068840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70167007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91734893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86075287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66173503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6292895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60545254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58993806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90610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36658018"/>
      </p:ext>
    </p:extLst>
  </p:cSld>
  <p:clrMapOvr>
    <a:masterClrMapping/>
  </p:clrMapOvr>
  <p:transition spd="slow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50719250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09976443"/>
      </p:ext>
    </p:extLst>
  </p:cSld>
  <p:clrMapOvr>
    <a:masterClrMapping/>
  </p:clrMapOvr>
  <p:transition spd="slow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18893588"/>
      </p:ext>
    </p:extLst>
  </p:cSld>
  <p:clrMapOvr>
    <a:masterClrMapping/>
  </p:clrMapOvr>
  <p:transition spd="slow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64451964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884706919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06421674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98325402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119587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62342775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31/10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48095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05681859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85296614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93061490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46594763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98063529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18798241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34954273"/>
      </p:ext>
    </p:extLst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78938213"/>
      </p:ext>
    </p:extLst>
  </p:cSld>
  <p:clrMapOvr>
    <a:masterClrMapping/>
  </p:clrMapOvr>
  <p:transition spd="slow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54961059"/>
      </p:ext>
    </p:extLst>
  </p:cSld>
  <p:clrMapOvr>
    <a:masterClrMapping/>
  </p:clrMapOvr>
  <p:transition spd="slow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19337906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8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8.bin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image" Target="../media/image8.bin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image" Target="../media/image8.bin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image" Target="../media/image8.bin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icrosoft Uighur" panose="02000000000000000000" pitchFamily="2" charset="-78"/>
              </a:defRPr>
            </a:lvl1pPr>
          </a:lstStyle>
          <a:p>
            <a:fld id="{B7D3BCD8-9868-4174-A461-8C04FAF3A9DD}" type="datetimeFigureOut">
              <a:rPr lang="fr-FR" smtClean="0"/>
              <a:pPr/>
              <a:t>31/10/2025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icrosoft Uighur" panose="02000000000000000000" pitchFamily="2" charset="-78"/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icrosoft Uighur" panose="02000000000000000000" pitchFamily="2" charset="-78"/>
              </a:defRPr>
            </a:lvl1pPr>
          </a:lstStyle>
          <a:p>
            <a:fld id="{10B60BE7-EAD2-4C3B-A9F2-B2A20B3BFA2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391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91" r:id="rId12"/>
    <p:sldLayoutId id="214748380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Uighur" panose="02000000000000000000" pitchFamily="2" charset="-7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512537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90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99898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45127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76357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6172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808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8282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  <p:sldLayoutId id="2147483784" r:id="rId18"/>
    <p:sldLayoutId id="2147483785" r:id="rId19"/>
    <p:sldLayoutId id="2147483786" r:id="rId20"/>
    <p:sldLayoutId id="2147483787" r:id="rId21"/>
    <p:sldLayoutId id="2147483788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3248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9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0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gi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44.png"/><Relationship Id="rId7" Type="http://schemas.openxmlformats.org/officeDocument/2006/relationships/image" Target="../media/image3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30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29.png"/><Relationship Id="rId5" Type="http://schemas.openxmlformats.org/officeDocument/2006/relationships/image" Target="../media/image45.png"/><Relationship Id="rId10" Type="http://schemas.openxmlformats.org/officeDocument/2006/relationships/image" Target="../media/image19.png"/><Relationship Id="rId4" Type="http://schemas.openxmlformats.org/officeDocument/2006/relationships/image" Target="../media/image43.png"/><Relationship Id="rId9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32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3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3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3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3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3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3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8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5" Type="http://schemas.microsoft.com/office/2007/relationships/hdphoto" Target="../media/hdphoto6.wdp"/><Relationship Id="rId4" Type="http://schemas.openxmlformats.org/officeDocument/2006/relationships/image" Target="../media/image2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3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3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1.png"/><Relationship Id="rId4" Type="http://schemas.openxmlformats.org/officeDocument/2006/relationships/image" Target="../media/image5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8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19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9.png"/><Relationship Id="rId7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9.png"/><Relationship Id="rId7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9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9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58.png"/><Relationship Id="rId7" Type="http://schemas.openxmlformats.org/officeDocument/2006/relationships/image" Target="../media/image3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58.png"/><Relationship Id="rId7" Type="http://schemas.openxmlformats.org/officeDocument/2006/relationships/image" Target="../media/image31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8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3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24.xml"/><Relationship Id="rId7" Type="http://schemas.openxmlformats.org/officeDocument/2006/relationships/image" Target="../media/image29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23.gif"/><Relationship Id="rId5" Type="http://schemas.openxmlformats.org/officeDocument/2006/relationships/image" Target="../media/image60.png"/><Relationship Id="rId10" Type="http://schemas.openxmlformats.org/officeDocument/2006/relationships/image" Target="../media/image32.png"/><Relationship Id="rId4" Type="http://schemas.openxmlformats.org/officeDocument/2006/relationships/image" Target="../media/image59.jpeg"/><Relationship Id="rId9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29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3.gif"/><Relationship Id="rId5" Type="http://schemas.openxmlformats.org/officeDocument/2006/relationships/image" Target="../media/image36.png"/><Relationship Id="rId10" Type="http://schemas.openxmlformats.org/officeDocument/2006/relationships/image" Target="../media/image32.png"/><Relationship Id="rId4" Type="http://schemas.openxmlformats.org/officeDocument/2006/relationships/image" Target="../media/image35.png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.pn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8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texte, capture d’écran&#10;&#10;Le contenu généré par l’IA peut être incorrect.">
            <a:extLst>
              <a:ext uri="{FF2B5EF4-FFF2-40B4-BE49-F238E27FC236}">
                <a16:creationId xmlns:a16="http://schemas.microsoft.com/office/drawing/2014/main" id="{BBE534C8-EF3C-42CE-5C44-A3BD4072F9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299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17797B-766E-6470-7FE1-F86802D649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452;p158">
            <a:extLst>
              <a:ext uri="{FF2B5EF4-FFF2-40B4-BE49-F238E27FC236}">
                <a16:creationId xmlns:a16="http://schemas.microsoft.com/office/drawing/2014/main" id="{837884D6-A939-EED7-9117-F1DD130F3F5F}"/>
              </a:ext>
            </a:extLst>
          </p:cNvPr>
          <p:cNvSpPr txBox="1"/>
          <p:nvPr/>
        </p:nvSpPr>
        <p:spPr>
          <a:xfrm>
            <a:off x="6758043" y="2441465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صَرَّ</a:t>
            </a:r>
            <a:endParaRPr dirty="0">
              <a:sym typeface="Calibri"/>
            </a:endParaRPr>
          </a:p>
        </p:txBody>
      </p:sp>
      <p:sp>
        <p:nvSpPr>
          <p:cNvPr id="16" name="Google Shape;452;p158">
            <a:extLst>
              <a:ext uri="{FF2B5EF4-FFF2-40B4-BE49-F238E27FC236}">
                <a16:creationId xmlns:a16="http://schemas.microsoft.com/office/drawing/2014/main" id="{9ECA8BE6-6A1C-E802-796C-7D757306D233}"/>
              </a:ext>
            </a:extLst>
          </p:cNvPr>
          <p:cNvSpPr txBox="1"/>
          <p:nvPr/>
        </p:nvSpPr>
        <p:spPr>
          <a:xfrm>
            <a:off x="4701975" y="2465451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صُّمودُ</a:t>
            </a:r>
            <a:endParaRPr dirty="0">
              <a:sym typeface="Calibri"/>
            </a:endParaRPr>
          </a:p>
        </p:txBody>
      </p:sp>
      <p:sp>
        <p:nvSpPr>
          <p:cNvPr id="17" name="Google Shape;452;p158">
            <a:extLst>
              <a:ext uri="{FF2B5EF4-FFF2-40B4-BE49-F238E27FC236}">
                <a16:creationId xmlns:a16="http://schemas.microsoft.com/office/drawing/2014/main" id="{26DB14FA-73C6-8F8A-52ED-FB4D4B78920C}"/>
              </a:ext>
            </a:extLst>
          </p:cNvPr>
          <p:cNvSpPr txBox="1"/>
          <p:nvPr/>
        </p:nvSpPr>
        <p:spPr>
          <a:xfrm>
            <a:off x="2719733" y="2445729"/>
            <a:ext cx="1785600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مُثابَرَةُ</a:t>
            </a:r>
            <a:endParaRPr dirty="0">
              <a:sym typeface="Calibri"/>
            </a:endParaRPr>
          </a:p>
        </p:txBody>
      </p:sp>
      <p:sp>
        <p:nvSpPr>
          <p:cNvPr id="19" name="Google Shape;452;p158">
            <a:extLst>
              <a:ext uri="{FF2B5EF4-FFF2-40B4-BE49-F238E27FC236}">
                <a16:creationId xmlns:a16="http://schemas.microsoft.com/office/drawing/2014/main" id="{46C021E8-2799-A74F-EA17-297B684043D5}"/>
              </a:ext>
            </a:extLst>
          </p:cNvPr>
          <p:cNvSpPr txBox="1"/>
          <p:nvPr/>
        </p:nvSpPr>
        <p:spPr>
          <a:xfrm>
            <a:off x="664158" y="2474055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مُحاوَلَةُ</a:t>
            </a:r>
            <a:endParaRPr dirty="0">
              <a:sym typeface="Calibri"/>
            </a:endParaRPr>
          </a:p>
        </p:txBody>
      </p:sp>
      <p:sp>
        <p:nvSpPr>
          <p:cNvPr id="20" name="Google Shape;452;p158">
            <a:extLst>
              <a:ext uri="{FF2B5EF4-FFF2-40B4-BE49-F238E27FC236}">
                <a16:creationId xmlns:a16="http://schemas.microsoft.com/office/drawing/2014/main" id="{853920F2-BC6F-C473-E1E3-9B89DADB8152}"/>
              </a:ext>
            </a:extLst>
          </p:cNvPr>
          <p:cNvSpPr txBox="1"/>
          <p:nvPr/>
        </p:nvSpPr>
        <p:spPr>
          <a:xfrm>
            <a:off x="6744693" y="4390759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Calibri"/>
              </a:rPr>
              <a:t>اَلتَّفَوُّقُ</a:t>
            </a:r>
            <a:endParaRPr dirty="0">
              <a:sym typeface="Calibri"/>
            </a:endParaRPr>
          </a:p>
        </p:txBody>
      </p:sp>
      <p:sp>
        <p:nvSpPr>
          <p:cNvPr id="21" name="Google Shape;452;p158">
            <a:extLst>
              <a:ext uri="{FF2B5EF4-FFF2-40B4-BE49-F238E27FC236}">
                <a16:creationId xmlns:a16="http://schemas.microsoft.com/office/drawing/2014/main" id="{587C09C4-5887-D542-95EA-DF09AEAC19F3}"/>
              </a:ext>
            </a:extLst>
          </p:cNvPr>
          <p:cNvSpPr txBox="1"/>
          <p:nvPr/>
        </p:nvSpPr>
        <p:spPr>
          <a:xfrm>
            <a:off x="4688625" y="4395695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بَرَعَ</a:t>
            </a:r>
            <a:endParaRPr dirty="0">
              <a:sym typeface="Calibri"/>
            </a:endParaRPr>
          </a:p>
        </p:txBody>
      </p:sp>
      <p:sp>
        <p:nvSpPr>
          <p:cNvPr id="22" name="Google Shape;452;p158">
            <a:extLst>
              <a:ext uri="{FF2B5EF4-FFF2-40B4-BE49-F238E27FC236}">
                <a16:creationId xmlns:a16="http://schemas.microsoft.com/office/drawing/2014/main" id="{88F0D65B-004E-D94D-0AD9-B2CE4CAD9E3A}"/>
              </a:ext>
            </a:extLst>
          </p:cNvPr>
          <p:cNvSpPr txBox="1"/>
          <p:nvPr/>
        </p:nvSpPr>
        <p:spPr>
          <a:xfrm>
            <a:off x="2706383" y="4375973"/>
            <a:ext cx="1785600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شَغَفٌ</a:t>
            </a:r>
            <a:endParaRPr dirty="0">
              <a:sym typeface="Calibri"/>
            </a:endParaRPr>
          </a:p>
        </p:txBody>
      </p:sp>
      <p:sp>
        <p:nvSpPr>
          <p:cNvPr id="23" name="Google Shape;452;p158">
            <a:extLst>
              <a:ext uri="{FF2B5EF4-FFF2-40B4-BE49-F238E27FC236}">
                <a16:creationId xmlns:a16="http://schemas.microsoft.com/office/drawing/2014/main" id="{C2C1B281-9923-D891-E9BA-7B58B8579AE2}"/>
              </a:ext>
            </a:extLst>
          </p:cNvPr>
          <p:cNvSpPr txBox="1"/>
          <p:nvPr/>
        </p:nvSpPr>
        <p:spPr>
          <a:xfrm>
            <a:off x="650808" y="4404299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تَشْجيعٌ</a:t>
            </a:r>
            <a:endParaRPr dirty="0">
              <a:sym typeface="Calibri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B1A5BE0-6C87-A731-B490-628028E47D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756000"/>
            <a:ext cx="7039754" cy="612000"/>
          </a:xfrm>
        </p:spPr>
        <p:txBody>
          <a:bodyPr>
            <a:no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على دفاتركم : وفي ثنائيات. اكتبوا جملتين للتعبير عن النجاح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و التفوق في مجال ما كالدراسة أو الرياضة أو الفن؛ بتوظيف هذه المفردات.</a:t>
            </a:r>
            <a:endParaRPr lang="fr-FR" sz="2400" dirty="0"/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EB519301-967E-ABE3-4C1D-B70C937AD5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C1BFDFD9-DA15-E6B2-A837-EDD8028152C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34DEC5FD-FB80-3C76-E6EA-87390D1D689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FB13CDB2-EEEC-48A2-FA35-B52FAA47741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45B793A-2CC6-5183-C296-48E75849583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68D38E4-B680-AA22-2DBC-43164340822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2C96A69-A4CE-891D-3A5E-F0E2CC6AB68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28110AA-4BF1-4474-D45E-61E58BC2C32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378088A6-9279-CF40-47BB-CE1C0BDF4D6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2415009114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1D844-650A-45F1-B093-72E0D7EF80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A221A9F-357F-3075-040D-46797E87B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أمنحكم دقيقة للإنجاز . سوف أمر بين الصفوف لمساعدتكم.</a:t>
            </a:r>
            <a:endParaRPr lang="fr-FR" sz="2400" dirty="0"/>
          </a:p>
        </p:txBody>
      </p:sp>
      <p:sp>
        <p:nvSpPr>
          <p:cNvPr id="3" name="Google Shape;452;p158">
            <a:extLst>
              <a:ext uri="{FF2B5EF4-FFF2-40B4-BE49-F238E27FC236}">
                <a16:creationId xmlns:a16="http://schemas.microsoft.com/office/drawing/2014/main" id="{380D8261-D665-AE64-FD10-AC8D1C501D48}"/>
              </a:ext>
            </a:extLst>
          </p:cNvPr>
          <p:cNvSpPr txBox="1"/>
          <p:nvPr/>
        </p:nvSpPr>
        <p:spPr>
          <a:xfrm>
            <a:off x="6758043" y="2441465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صَرَّ</a:t>
            </a:r>
            <a:endParaRPr dirty="0">
              <a:sym typeface="Calibri"/>
            </a:endParaRPr>
          </a:p>
        </p:txBody>
      </p:sp>
      <p:sp>
        <p:nvSpPr>
          <p:cNvPr id="4" name="Google Shape;452;p158">
            <a:extLst>
              <a:ext uri="{FF2B5EF4-FFF2-40B4-BE49-F238E27FC236}">
                <a16:creationId xmlns:a16="http://schemas.microsoft.com/office/drawing/2014/main" id="{509FCFBF-FA75-629F-4CE2-6E534051546E}"/>
              </a:ext>
            </a:extLst>
          </p:cNvPr>
          <p:cNvSpPr txBox="1"/>
          <p:nvPr/>
        </p:nvSpPr>
        <p:spPr>
          <a:xfrm>
            <a:off x="4701975" y="2465451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صُّمودُ</a:t>
            </a:r>
            <a:endParaRPr dirty="0">
              <a:sym typeface="Calibri"/>
            </a:endParaRPr>
          </a:p>
        </p:txBody>
      </p:sp>
      <p:sp>
        <p:nvSpPr>
          <p:cNvPr id="5" name="Google Shape;452;p158">
            <a:extLst>
              <a:ext uri="{FF2B5EF4-FFF2-40B4-BE49-F238E27FC236}">
                <a16:creationId xmlns:a16="http://schemas.microsoft.com/office/drawing/2014/main" id="{C8549ED8-53F9-3A84-B2F3-DE68BC4003B1}"/>
              </a:ext>
            </a:extLst>
          </p:cNvPr>
          <p:cNvSpPr txBox="1"/>
          <p:nvPr/>
        </p:nvSpPr>
        <p:spPr>
          <a:xfrm>
            <a:off x="2719733" y="2445729"/>
            <a:ext cx="1785600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مُثابَرَةُ</a:t>
            </a:r>
            <a:endParaRPr dirty="0">
              <a:sym typeface="Calibri"/>
            </a:endParaRPr>
          </a:p>
        </p:txBody>
      </p:sp>
      <p:sp>
        <p:nvSpPr>
          <p:cNvPr id="6" name="Google Shape;452;p158">
            <a:extLst>
              <a:ext uri="{FF2B5EF4-FFF2-40B4-BE49-F238E27FC236}">
                <a16:creationId xmlns:a16="http://schemas.microsoft.com/office/drawing/2014/main" id="{D0CC925F-EC3E-CA3B-0D81-E036166FB62A}"/>
              </a:ext>
            </a:extLst>
          </p:cNvPr>
          <p:cNvSpPr txBox="1"/>
          <p:nvPr/>
        </p:nvSpPr>
        <p:spPr>
          <a:xfrm>
            <a:off x="664158" y="2474055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مُحاوَلَةُ</a:t>
            </a:r>
            <a:endParaRPr dirty="0">
              <a:sym typeface="Calibri"/>
            </a:endParaRPr>
          </a:p>
        </p:txBody>
      </p:sp>
      <p:sp>
        <p:nvSpPr>
          <p:cNvPr id="12" name="Google Shape;452;p158">
            <a:extLst>
              <a:ext uri="{FF2B5EF4-FFF2-40B4-BE49-F238E27FC236}">
                <a16:creationId xmlns:a16="http://schemas.microsoft.com/office/drawing/2014/main" id="{26041556-DA0E-F63E-A184-636EA512B795}"/>
              </a:ext>
            </a:extLst>
          </p:cNvPr>
          <p:cNvSpPr txBox="1"/>
          <p:nvPr/>
        </p:nvSpPr>
        <p:spPr>
          <a:xfrm>
            <a:off x="6744693" y="4390759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Calibri"/>
              </a:rPr>
              <a:t>اَلتَّفَوُّقُ</a:t>
            </a:r>
            <a:endParaRPr dirty="0">
              <a:sym typeface="Calibri"/>
            </a:endParaRPr>
          </a:p>
        </p:txBody>
      </p:sp>
      <p:sp>
        <p:nvSpPr>
          <p:cNvPr id="14" name="Google Shape;452;p158">
            <a:extLst>
              <a:ext uri="{FF2B5EF4-FFF2-40B4-BE49-F238E27FC236}">
                <a16:creationId xmlns:a16="http://schemas.microsoft.com/office/drawing/2014/main" id="{324B366F-4707-0B46-D99C-197E646A3594}"/>
              </a:ext>
            </a:extLst>
          </p:cNvPr>
          <p:cNvSpPr txBox="1"/>
          <p:nvPr/>
        </p:nvSpPr>
        <p:spPr>
          <a:xfrm>
            <a:off x="4688625" y="4395695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بَرَعَ</a:t>
            </a:r>
            <a:endParaRPr dirty="0">
              <a:sym typeface="Calibri"/>
            </a:endParaRPr>
          </a:p>
        </p:txBody>
      </p:sp>
      <p:sp>
        <p:nvSpPr>
          <p:cNvPr id="15" name="Google Shape;452;p158">
            <a:extLst>
              <a:ext uri="{FF2B5EF4-FFF2-40B4-BE49-F238E27FC236}">
                <a16:creationId xmlns:a16="http://schemas.microsoft.com/office/drawing/2014/main" id="{33DDD9C9-62D0-20FA-6D20-76B87299DAC0}"/>
              </a:ext>
            </a:extLst>
          </p:cNvPr>
          <p:cNvSpPr txBox="1"/>
          <p:nvPr/>
        </p:nvSpPr>
        <p:spPr>
          <a:xfrm>
            <a:off x="2706383" y="4375973"/>
            <a:ext cx="1785600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شَغَفٌ</a:t>
            </a:r>
            <a:endParaRPr dirty="0">
              <a:sym typeface="Calibri"/>
            </a:endParaRPr>
          </a:p>
        </p:txBody>
      </p:sp>
      <p:sp>
        <p:nvSpPr>
          <p:cNvPr id="16" name="Google Shape;452;p158">
            <a:extLst>
              <a:ext uri="{FF2B5EF4-FFF2-40B4-BE49-F238E27FC236}">
                <a16:creationId xmlns:a16="http://schemas.microsoft.com/office/drawing/2014/main" id="{9254263E-2D98-F29B-6B52-785974A9B3D4}"/>
              </a:ext>
            </a:extLst>
          </p:cNvPr>
          <p:cNvSpPr txBox="1"/>
          <p:nvPr/>
        </p:nvSpPr>
        <p:spPr>
          <a:xfrm>
            <a:off x="650808" y="4404299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تَشْجيعٌ</a:t>
            </a:r>
            <a:endParaRPr dirty="0">
              <a:sym typeface="Calibri"/>
            </a:endParaRPr>
          </a:p>
        </p:txBody>
      </p:sp>
      <p:pic>
        <p:nvPicPr>
          <p:cNvPr id="30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F09DB8EB-0AA4-3522-9FDB-FDA83C2B270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7959600" y="636136"/>
            <a:ext cx="792000" cy="792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111BEB58-FBC2-842E-C27B-0DBB2E625F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56378304-49A7-ADF2-9DA6-332B631B5CF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6EB2F351-657D-13D3-BDD9-410D2025B27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C6700121-F997-6183-1469-DB70C59BDED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FF41E76F-34BB-1776-A26C-92F22E691B4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527696C-2170-BD29-E1B8-DC65067AC48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313E2A4-D0BF-C545-A298-1E7055FD7BA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AF66AF1-C3FD-923B-4CE6-4EF9B35D4900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4274098874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55CBB0-D9CA-DF00-9221-1F0DDA471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4CC814E-02B3-3583-8730-C190E2DA4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كل واحد يقدم لنا عمل مجموعته مع ذكر المفردات التي استخدمها</a:t>
            </a:r>
            <a:endParaRPr lang="fr-FR" sz="2400" dirty="0"/>
          </a:p>
        </p:txBody>
      </p:sp>
      <p:pic>
        <p:nvPicPr>
          <p:cNvPr id="3" name="Espace réservé pour une image  10">
            <a:extLst>
              <a:ext uri="{FF2B5EF4-FFF2-40B4-BE49-F238E27FC236}">
                <a16:creationId xmlns:a16="http://schemas.microsoft.com/office/drawing/2014/main" id="{6E99860A-B700-84FE-B208-DDE051AAC4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239" b="-4239"/>
          <a:stretch/>
        </p:blipFill>
        <p:spPr>
          <a:xfrm>
            <a:off x="1046775" y="1619250"/>
            <a:ext cx="6651811" cy="4810539"/>
          </a:xfrm>
          <a:prstGeom prst="round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4A18AB8-84D4-30B4-D570-70E0479E86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36165D3-B3A9-ACEF-8F46-BC6ED471671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7CAA740-1371-715E-EEC2-086AC2065A4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F86D717-B584-F7DA-B8DA-D601CC4D00CC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8092B49-2E84-861A-3DBB-4C94D6A47FF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CE77A23-1236-8C03-B68D-B357C4BE30C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74F734-4A60-DCA5-74E0-431D321CD88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A6405C-9F62-076F-77C1-6902F4A6CB9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9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1CDCA184-8A0A-0628-D8F1-0B5C7F7FE8C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2884177092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687015-5DDB-175A-5AD1-ABA7FBB3ED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4C95B2EC-FF69-94A9-087E-9AFB3972A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4000" dirty="0">
                <a:solidFill>
                  <a:srgbClr val="424D7B"/>
                </a:solidFill>
              </a:rPr>
              <a:t>مراجعة وتوليف</a:t>
            </a:r>
            <a:endParaRPr lang="fr-MA" sz="4000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" name="Image 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5258A7B7-F0B5-D287-95B0-354BDC6201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96" y="2064777"/>
            <a:ext cx="8071821" cy="2546554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E47840C3-2F4E-E3E7-DB19-7A2C45A084B5}"/>
              </a:ext>
            </a:extLst>
          </p:cNvPr>
          <p:cNvSpPr txBox="1">
            <a:spLocks/>
          </p:cNvSpPr>
          <p:nvPr/>
        </p:nvSpPr>
        <p:spPr>
          <a:xfrm>
            <a:off x="2718898" y="3064688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buClr>
                <a:srgbClr val="424D7B"/>
              </a:buClr>
            </a:pPr>
            <a:r>
              <a:rPr lang="ar-MA" sz="24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شكل وفهم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8FC8FB18-76D4-53B5-BE1A-12A3A17C880D}"/>
              </a:ext>
            </a:extLst>
          </p:cNvPr>
          <p:cNvSpPr txBox="1"/>
          <p:nvPr/>
        </p:nvSpPr>
        <p:spPr>
          <a:xfrm>
            <a:off x="5567389" y="2472282"/>
            <a:ext cx="18678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rtl="1"/>
            <a:r>
              <a:rPr lang="fr-MA" sz="24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 -  02 </a:t>
            </a:r>
            <a:r>
              <a:rPr lang="ar-MA" sz="24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9FD3328D-0F7C-FAED-ED75-1355C8F6CDD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619478" y="2650688"/>
            <a:ext cx="822387" cy="828000"/>
          </a:xfrm>
          <a:prstGeom prst="rect">
            <a:avLst/>
          </a:prstGeom>
        </p:spPr>
      </p:pic>
      <p:pic>
        <p:nvPicPr>
          <p:cNvPr id="10" name="Espace réservé pour une image  20">
            <a:extLst>
              <a:ext uri="{FF2B5EF4-FFF2-40B4-BE49-F238E27FC236}">
                <a16:creationId xmlns:a16="http://schemas.microsoft.com/office/drawing/2014/main" id="{91B8FB06-8911-3D38-DFEF-EC85B48C672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519209" y="2285188"/>
            <a:ext cx="648000" cy="648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218DD2B-5AED-2B8B-8687-0EEC1C6CE1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871" y="1039086"/>
            <a:ext cx="432000" cy="43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849205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1A350-EE08-F4D9-5608-1873BD9A7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oogle Shape;540;p161">
            <a:extLst>
              <a:ext uri="{FF2B5EF4-FFF2-40B4-BE49-F238E27FC236}">
                <a16:creationId xmlns:a16="http://schemas.microsoft.com/office/drawing/2014/main" id="{2E0C3564-0C05-BA10-9333-47E124D87492}"/>
              </a:ext>
            </a:extLst>
          </p:cNvPr>
          <p:cNvPicPr preferRelativeResize="0"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3" r="7443"/>
          <a:stretch/>
        </p:blipFill>
        <p:spPr>
          <a:xfrm>
            <a:off x="1526651" y="1717482"/>
            <a:ext cx="5597718" cy="438451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B876BDF-5C64-DE48-A66A-B072A96E7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وف نشرع الآن في حصة المراجعة و التوليف</a:t>
            </a:r>
            <a:endParaRPr lang="fr-FR" sz="240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0C87E3B-B266-B814-D32C-43EAF56F629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AF5DD121-E338-616E-CD21-E33D9B16D8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8DC2ED1-F3FC-8ACA-2408-AC7D2A7E756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1DC627-1A92-4EDC-C46A-84C684E7E4F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9D907B1-6DD6-A3E3-077B-01824B2FF345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9551B2-862F-E1BB-A1AE-5730E69869B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A17C43-3ABD-33D3-8AED-4DB17900E07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FA44187-90B5-6C7A-6C06-6DD79C021B8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6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BD946F1E-1AF6-0C48-CE3C-05560879C55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1243690395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F9CFD6-6536-5D7F-FD55-0650F70E4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BEA435B5-17AE-7E6D-BE50-46146FC9A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373" y="2163418"/>
            <a:ext cx="7922104" cy="2893577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BB8D4FF0-7D81-C948-414B-F85E55E39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ولا نصحح الواجب المنزلي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565C95B-20C9-8E00-43AF-A938D597D5F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4DD6A78-4A58-7879-BFCC-1EACB080E4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5355046-DAFE-9E5A-B9D6-DC8B77270A1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9693EA7-B142-EA64-E798-8951FA1B14DC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3F91C41-AA41-5E7F-F9FC-FA2EE4C25E7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D11821-893E-DA6D-ECF4-D8B8CB30711B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00F0B9-C39C-6704-F02A-D3C97BCE60C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5F711F-5212-5F70-6E81-3C2A5B5E2A0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3CE3F0DC-AB6C-CA82-313A-FE1FA9DB6FE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52123899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ECD4B4-7AD9-71C8-918E-7D9E17B02D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11FE25C-6634-9E74-D58D-410000F7E25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5638" b="39898"/>
          <a:stretch/>
        </p:blipFill>
        <p:spPr>
          <a:xfrm>
            <a:off x="610948" y="3224732"/>
            <a:ext cx="7922104" cy="707886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1762E8B9-6098-1D8D-4D97-BB11C58DD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سؤال الأول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4284066-89E4-41D5-E3B2-F14BDF22992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3F676C9-0C26-EEC6-C5D5-4E76D7B0A9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791B002-5F68-DB57-58F9-82D7EB82932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A9BCC7C9-6D2E-0A55-CFC2-98472437691E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F48B971-222D-509C-0643-2C74037665F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4AC011-76AB-A3F1-5C5D-6BD3CDFB810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B22182-7A8D-E774-A607-6602DA14445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409835-D3DA-5DB8-9947-30504C8873E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50EB11B1-B34D-AFA6-4C2A-0682220E954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2904258469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AFF1E-56C9-B88E-119C-7D2D7E630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466D434A-4718-6BFC-9630-A233BDC6B3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5638" b="39898"/>
          <a:stretch/>
        </p:blipFill>
        <p:spPr>
          <a:xfrm>
            <a:off x="542392" y="3193723"/>
            <a:ext cx="7922104" cy="707886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FA581C09-BE47-616B-DB3E-E13C748FCC8A}"/>
              </a:ext>
            </a:extLst>
          </p:cNvPr>
          <p:cNvSpPr txBox="1"/>
          <p:nvPr/>
        </p:nvSpPr>
        <p:spPr>
          <a:xfrm>
            <a:off x="2458065" y="3188757"/>
            <a:ext cx="1936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فَتاةُ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A67219DC-07C7-0313-62D8-76CF8886E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880C9B9-6CC6-C0FD-088B-2BD7FA4F329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4ECE288-0164-1153-9F9B-68A555D836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6D870A4-1F62-257A-94CB-E462D33E21A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C427074-F173-ABEE-0932-9FC568DDF3A4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E475AA5-9836-9D5C-6372-5795C0001D7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E62A6D-AB0B-5EDE-D086-4BAA2EC7230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CBC67E-64CC-C01E-5205-5CE8D790EFF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A3F289-3D6A-4E8C-2454-97E0AAD22523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6" name="Espace réservé pour une image  15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CD8476B7-DA0A-53CA-051C-508C8C530A3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31702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ED3C0-D170-B4F9-A9F8-BAB00C122F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6E0397A8-BCBA-16D5-297D-501D8A463B4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9953" b="12488"/>
          <a:stretch/>
        </p:blipFill>
        <p:spPr>
          <a:xfrm>
            <a:off x="542392" y="3248347"/>
            <a:ext cx="7922104" cy="797442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72E34420-2030-2F15-4C23-270F1D137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سؤال الثاني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B60D450-2D62-9027-D854-DB1593F0B62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E5018FA1-AF08-C375-354E-D07300CE88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A13025B-AEF7-B5F6-E0FD-C5CA11FC53B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2C621C1-4508-7680-1978-C318B0F38571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B4ADCF-932B-92FA-13B6-E2DB3CA8F2A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196678-C325-3EEE-ABDC-F681C89DB2E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6955E9-7A1E-6641-04BD-55805143BFC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5CA2E1E-EA24-FF31-C0C7-263A671CFA9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252FB91D-3390-1489-107C-CB7BA337C42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2584435966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E7B42B-E1D4-45A7-1FDF-EA03A96C55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3C53B9A2-EA2F-4D8C-37B2-01F090A14AE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448" t="55099" b="12488"/>
          <a:stretch/>
        </p:blipFill>
        <p:spPr>
          <a:xfrm>
            <a:off x="363794" y="2672621"/>
            <a:ext cx="8150941" cy="937901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7E0046D8-10BD-1BE6-786D-26A904AB3A02}"/>
              </a:ext>
            </a:extLst>
          </p:cNvPr>
          <p:cNvSpPr txBox="1"/>
          <p:nvPr/>
        </p:nvSpPr>
        <p:spPr>
          <a:xfrm>
            <a:off x="1914105" y="4426064"/>
            <a:ext cx="57829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عادَتِ </a:t>
            </a:r>
            <a:r>
              <a:rPr kumimoji="0" lang="ar-MA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فَتَياتُ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مِنَ </a:t>
            </a:r>
            <a:r>
              <a:rPr kumimoji="0" lang="ar-MA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ﭐلْمَدْرَسَةِ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.</a:t>
            </a:r>
            <a:endParaRPr kumimoji="0" lang="fr-FR" sz="4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0EA200AA-2D0C-9B79-5D30-ED2906956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EA07B9C-1468-4F23-A3A0-81616866496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99AC640-D7B6-24D4-717E-A62F8359C5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1134206-3B6F-5256-978D-5524E67FC77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78D9300-82F9-F8FB-E1DF-7D7139E42E4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E5CBA6D-15A0-5740-3291-474DD6A5B69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39A89FD-1BE4-88E8-5974-FA86BD99204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00721C-F0B7-C2FC-1DBC-B98FE8B0FB5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561A2E-09A1-37A7-93CC-65DC93C41C1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7" name="Espace réservé pour une image  16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565B3B72-30C6-2F58-BCF2-204B775D48C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756645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Espace réservé pour une image  30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273DC75A-2015-19E1-1E39-E1663D38576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>
            <a:fillRect/>
          </a:stretch>
        </p:blipFill>
        <p:spPr/>
      </p:pic>
      <p:pic>
        <p:nvPicPr>
          <p:cNvPr id="29" name="Espace réservé pour une image  28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4CEF1EEB-1F40-EA99-607B-F22A6821DCF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/>
          <a:stretch>
            <a:fillRect/>
          </a:stretch>
        </p:blipFill>
        <p:spPr/>
      </p:pic>
      <p:pic>
        <p:nvPicPr>
          <p:cNvPr id="35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FF93AB83-9CA3-5F80-6D06-9BC5A29C6ED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/>
          <a:srcRect/>
          <a:stretch>
            <a:fillRect/>
          </a:stretch>
        </p:blipFill>
        <p:spPr/>
      </p:pic>
      <p:pic>
        <p:nvPicPr>
          <p:cNvPr id="33" name="Espace réservé pour une image  32" descr="Une image contenant dessin humoristique, Dessin animé, Animation, clipart&#10;&#10;Le contenu généré par l’IA peut être incorrect.">
            <a:extLst>
              <a:ext uri="{FF2B5EF4-FFF2-40B4-BE49-F238E27FC236}">
                <a16:creationId xmlns:a16="http://schemas.microsoft.com/office/drawing/2014/main" id="{48E3DEC7-EDF8-3A04-93CB-4981563836C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/>
          <a:stretch>
            <a:fillRect/>
          </a:stretch>
        </p:blipFill>
        <p:spPr/>
      </p:pic>
      <p:pic>
        <p:nvPicPr>
          <p:cNvPr id="14" name="Espace réservé pour une image  13" descr="Une image contenant capture d’écran, Graphique, Bleu électrique, conception&#10;&#10;Le contenu généré par l’IA peut être incorrect.">
            <a:extLst>
              <a:ext uri="{FF2B5EF4-FFF2-40B4-BE49-F238E27FC236}">
                <a16:creationId xmlns:a16="http://schemas.microsoft.com/office/drawing/2014/main" id="{6A61E3F4-6777-A2C5-4DDB-664D3F42A61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/>
          <a:srcRect/>
          <a:stretch/>
        </p:blipFill>
        <p:spPr/>
      </p:pic>
      <p:sp>
        <p:nvSpPr>
          <p:cNvPr id="21" name="Espace réservé pour une image  20">
            <a:extLst>
              <a:ext uri="{FF2B5EF4-FFF2-40B4-BE49-F238E27FC236}">
                <a16:creationId xmlns:a16="http://schemas.microsoft.com/office/drawing/2014/main" id="{A2246453-977E-1804-FB4B-6EF5DA943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9B930BFD-D933-1735-B8A7-CC562C90B0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عيين تلميذ(ة) للإجابة</a:t>
            </a:r>
            <a:endParaRPr lang="fr-MA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8996AF3B-A528-4707-FCB6-B291F8C7C0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وجيهات و شرح التعليمات</a:t>
            </a:r>
            <a:endParaRPr lang="fr-MA" dirty="0"/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9905370-11BD-3654-8734-1BB5729C31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رض فيديو</a:t>
            </a:r>
            <a:endParaRPr lang="fr-MA" dirty="0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2DE2D423-DFDD-F18A-A3B9-AFF3B3B8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المرور بين الصفوف للمساعدة و تصحيح الإنجازات</a:t>
            </a:r>
            <a:endParaRPr lang="fr-MA" dirty="0"/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FE3F5F3B-8967-6834-358B-508ACECF21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مل في ثنائيات</a:t>
            </a:r>
            <a:endParaRPr lang="fr-MA" dirty="0"/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E4065A23-EDF8-69CB-1A07-FBB4DE2BB5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نهاية الشريط، المرور إلى الشريحة الموالية.</a:t>
            </a:r>
            <a:endParaRPr lang="fr-MA" dirty="0"/>
          </a:p>
        </p:txBody>
      </p:sp>
      <p:pic>
        <p:nvPicPr>
          <p:cNvPr id="16" name="Image 15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7376C046-DDA7-71FD-0BA2-C6C915112E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757053" y="4245868"/>
            <a:ext cx="996593" cy="99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4875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EE643-8BBE-B603-815D-8E508B9EC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8E879486-99BE-265C-F46A-9DC408B33A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89977" y="1773244"/>
            <a:ext cx="3120382" cy="4510238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DFB1E69-F78C-85B6-9433-A3838D6D7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337" y="1679416"/>
            <a:ext cx="3087756" cy="460406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2363F5F5-01C0-0A4C-84E8-384D65BBC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ذوا كراساتكم . سننجز أنشطة المراجعة والتوليف الواردة على  الصفحتين 18 و 19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AB6C327-E2C6-5D47-39FF-39604102FDC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88EEA2F-105F-CC38-5297-065B8D557E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E1B38F0-7DC7-F90D-9790-A19B9DC23AB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91F9B1E-51BB-F47F-0C99-CB61AD757D7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5DE1511-7005-966E-E37A-C637447E18B5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F8EB3-F5C3-79A9-3A61-DF68A325F44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FCB236-0F67-6DFB-1A13-7D57D33391E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DA1BD9-2D7A-9975-D9B3-5D4527E08A8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14BB7239-E8BC-5976-1908-1BE37217A26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1152309523"/>
      </p:ext>
    </p:extLst>
  </p:cSld>
  <p:clrMapOvr>
    <a:masterClrMapping/>
  </p:clrMapOvr>
  <p:transition spd="slow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1FB0D-A4FE-13BB-3265-08FF8BCF0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B06F8D-9579-5117-BFC5-0BA05B2A3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قرؤوا نص "مريم امجون أيقونة اللغة العربية " قراءة صامتة ؛ بعد ذلك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جيبوا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عن الأسئلة.  لديكم 3 دقائق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D4FF1E2-672B-A6E7-8CFB-A40E54C79C2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878367" y="1586430"/>
            <a:ext cx="3387265" cy="4896000"/>
          </a:xfrm>
          <a:prstGeom prst="rect">
            <a:avLst/>
          </a:prstGeom>
        </p:spPr>
      </p:pic>
      <p:pic>
        <p:nvPicPr>
          <p:cNvPr id="4" name="timer_3min">
            <a:hlinkClick r:id="" action="ppaction://media"/>
            <a:extLst>
              <a:ext uri="{FF2B5EF4-FFF2-40B4-BE49-F238E27FC236}">
                <a16:creationId xmlns:a16="http://schemas.microsoft.com/office/drawing/2014/main" id="{AC79DDFA-487E-EDBE-5F61-5CE44B649B7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67032" y="1516626"/>
            <a:ext cx="900000" cy="900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635FA33-37A6-382A-637B-8C94BE22CB8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103EF47-1F78-3A09-D214-049D7FE050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EADFD6B-9F89-6DA3-4B34-E398C30BA9F9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2EFDC926-248A-ECBE-3394-87D1B9237DB4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9D66E5-C463-14C9-84F2-CD95ED90F12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DC38C8-6E36-8ED0-2C95-738D3178580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03086F2-11DD-CA48-410E-07D5949FEC7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452042C-7062-4032-78AE-C09F9A03E48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1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2EC036B2-AF78-F40D-4B8B-4D39051040A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13409446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231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5BF0DB-E553-DCA4-A9F7-4C5165CD3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C73BD82D-7C03-C00A-3D3B-A409B63965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804" y="1789471"/>
            <a:ext cx="6947569" cy="4403033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630A8E4B-8BED-D5A1-6357-B1CB618FF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جيبوا فرديا عن السؤال الأول. لا تنسوا طرح أسئلة مناسبة من قبيل: ما فوائدها؟ أنواعها؟ مكانها المناسب؟ أوقاتها؟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5D32B5A-DFE8-9D3B-74B4-AEA1953EF4C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C7FC1B2-2309-B1AB-F59B-C8D880F24F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01D6A3B-BC48-5D36-1EC9-1A3B308E5C8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ADA6979-2BE3-F3E6-3827-A455ACBE8B3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538EA36-8AE5-9012-7F4B-6F34AAD140E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BED2DF-3ED0-8A4E-8A9C-E5C67ACF8F2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7A5EE-75FE-987D-742F-B35EE807EEB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EBFB0DA-A2F0-D9E8-C4CB-A1B02B4AFD6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3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79ACD382-9C1A-4060-F2F9-6583B2F6174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71952837"/>
      </p:ext>
    </p:extLst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F0AFE8-B343-3FC3-49C1-DF65D3B401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4581FE17-01CF-1898-6107-F744675E10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363" y="1796705"/>
            <a:ext cx="7003893" cy="4430490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A0CF7F3F-1329-2C8F-5FC6-87D1E7E22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</a:t>
            </a:r>
            <a:endParaRPr lang="fr-FR" sz="2400" dirty="0"/>
          </a:p>
        </p:txBody>
      </p:sp>
      <p:pic>
        <p:nvPicPr>
          <p:cNvPr id="4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DEAF6DAD-C85F-15CF-8D7B-4C3A016DEDD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959600" y="576000"/>
            <a:ext cx="792000" cy="792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6D0190D9-A190-FD5E-F822-8D2B23A5515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38B29C95-34D8-385F-096E-AF7449426A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FE7A40D-4808-9B76-C11B-84B6B8EB38B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165101E8-D694-0271-C59F-94DC6C0C5A4C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0D2D7FD-51D6-C042-BD34-1E972D0B3E8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57F54C-DC50-F26B-F684-F6419FFA7FD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7F7F32A-F6A9-3F07-A71A-678BE80B0E7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6FAA159-D6D2-D5F3-E468-5DC4D573D109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789505996"/>
      </p:ext>
    </p:extLst>
  </p:cSld>
  <p:clrMapOvr>
    <a:masterClrMapping/>
  </p:clrMapOvr>
  <p:transition spd="slow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03174D-68EE-10CB-E4F8-278D043B6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98902985-DEDF-FE9A-2B33-E1C7E2B732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148" y="1812835"/>
            <a:ext cx="7030452" cy="444729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E4EEB6E9-5CBE-0D4B-D6E0-91958B788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؛ من يقدم لنا عمله؟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C211A4C-CC8B-8316-1E31-CE302A611B7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44AE5154-16CF-68B4-B5D6-A7EA87729C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F865C45-423C-A1D2-1023-7A95828236F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67CC22B-F3D8-1C8A-4879-93DBFFAE3E5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169B280-3CD5-F988-F4C8-807A16F20F2C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FF86DE-5915-8017-3EF6-E612B808892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90B0EF-2E7F-EF72-021B-21F0A34F474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44E1D3-4819-23EE-69CE-DE37DDB68B4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1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5F544EA3-672D-DB49-96DF-FBCB5969FCA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1159852354"/>
      </p:ext>
    </p:extLst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188082-E30A-062B-26ED-62F8F1CFB1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FCF304F-CD7D-18A0-8444-BADD896006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8916"/>
          <a:stretch/>
        </p:blipFill>
        <p:spPr>
          <a:xfrm>
            <a:off x="956558" y="1979063"/>
            <a:ext cx="7641997" cy="4023245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64F7662A-C13F-0E7B-506B-7C8819FEC5CF}"/>
              </a:ext>
            </a:extLst>
          </p:cNvPr>
          <p:cNvSpPr txBox="1"/>
          <p:nvPr/>
        </p:nvSpPr>
        <p:spPr>
          <a:xfrm>
            <a:off x="2270034" y="3529021"/>
            <a:ext cx="11027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ا فَوائِدُها؟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53FCEC7-6731-04E9-64DD-5CE32B1DCABD}"/>
              </a:ext>
            </a:extLst>
          </p:cNvPr>
          <p:cNvSpPr txBox="1"/>
          <p:nvPr/>
        </p:nvSpPr>
        <p:spPr>
          <a:xfrm>
            <a:off x="6065556" y="3427032"/>
            <a:ext cx="11027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اذا نَقْرَأُ؟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0694601-0D99-0227-CC6E-9CC692B37B2F}"/>
              </a:ext>
            </a:extLst>
          </p:cNvPr>
          <p:cNvSpPr txBox="1"/>
          <p:nvPr/>
        </p:nvSpPr>
        <p:spPr>
          <a:xfrm>
            <a:off x="7459728" y="3575186"/>
            <a:ext cx="9997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قِصَصُ </a:t>
            </a:r>
          </a:p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وَﭐلرِّواياتُ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F142A4C-5DB8-6B25-9DF2-18FA9AECE4C0}"/>
              </a:ext>
            </a:extLst>
          </p:cNvPr>
          <p:cNvSpPr txBox="1"/>
          <p:nvPr/>
        </p:nvSpPr>
        <p:spPr>
          <a:xfrm>
            <a:off x="6646058" y="5070733"/>
            <a:ext cx="11027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مَجَلّاتُ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7FC1550E-A50D-C60B-AF57-687F76A5BB0E}"/>
              </a:ext>
            </a:extLst>
          </p:cNvPr>
          <p:cNvSpPr txBox="1"/>
          <p:nvPr/>
        </p:nvSpPr>
        <p:spPr>
          <a:xfrm>
            <a:off x="5435556" y="5171311"/>
            <a:ext cx="11027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كُتُبُ ﭐلْعِلْمِيَّةُ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47C526BD-09C8-F659-C3DA-C3724F9602BE}"/>
              </a:ext>
            </a:extLst>
          </p:cNvPr>
          <p:cNvSpPr txBox="1"/>
          <p:nvPr/>
        </p:nvSpPr>
        <p:spPr>
          <a:xfrm>
            <a:off x="2902209" y="5178211"/>
            <a:ext cx="941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مُتْعَةُ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71531E2-65CF-5A73-C9E9-422EECF15BB7}"/>
              </a:ext>
            </a:extLst>
          </p:cNvPr>
          <p:cNvSpPr txBox="1"/>
          <p:nvPr/>
        </p:nvSpPr>
        <p:spPr>
          <a:xfrm>
            <a:off x="1718671" y="5134477"/>
            <a:ext cx="11027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rtl="1"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تُنَمّي </a:t>
            </a:r>
            <a:r>
              <a:rPr lang="ar-MA" sz="24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لْمَعْلوماتِ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F6BE4140-DB4D-1287-7C28-E94D149FFE61}"/>
              </a:ext>
            </a:extLst>
          </p:cNvPr>
          <p:cNvSpPr txBox="1"/>
          <p:nvPr/>
        </p:nvSpPr>
        <p:spPr>
          <a:xfrm>
            <a:off x="956558" y="3570221"/>
            <a:ext cx="11027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َلتَّمَكُّنُ مِنَ ﭐللُّغَةِ</a:t>
            </a: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8" name="Titre 27">
            <a:extLst>
              <a:ext uri="{FF2B5EF4-FFF2-40B4-BE49-F238E27FC236}">
                <a16:creationId xmlns:a16="http://schemas.microsoft.com/office/drawing/2014/main" id="{68C08932-CAD1-1746-BAF7-7E32B09C1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قترح عليكم هذا النموذج ؛ مارأيكم؟ 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.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7A899C7-7A42-9FFA-65A3-2BA762F0C67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121EDA6-6C81-FA30-157B-048E5AAC66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793CBBD-F36C-7A1A-2967-D44B91A32A4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851B21E-83C1-71DD-7E9D-D3465EF355B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EECC74-B2C4-F00C-19DA-A11896459D1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5B4EC0-B059-31D3-BDC9-72D71CD04F6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C29941-5A2A-87EB-EFA4-6DB2F83CA8A3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3092DC-4534-322C-0431-07AD55BD675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6" name="Espace réservé pour une image  11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8C14F73E-9A8C-53E0-BDFC-A52BE2D827D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234597925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9" grpId="0"/>
      <p:bldP spid="20" grpId="0"/>
      <p:bldP spid="21" grpId="0"/>
      <p:bldP spid="22" grpId="0"/>
      <p:bldP spid="2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FE0CA-8194-01DA-CF14-BB4D33133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F578C550-1945-6FC0-8579-CDB14E276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987" y="756000"/>
            <a:ext cx="7354386" cy="612000"/>
          </a:xfrm>
        </p:spPr>
        <p:txBody>
          <a:bodyPr>
            <a:no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واصل أنشطة المراجعة . ستجيبون عن أسئلة الفهم 1 و 2 و3 الواردة في الصفحة 19.</a:t>
            </a:r>
            <a:endParaRPr lang="fr-FR" sz="240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668707A-4A27-170B-7DD3-D46ED007F29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847555" y="1584325"/>
            <a:ext cx="3734022" cy="5184000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3294DEC7-34C0-1D34-7878-8759A8957C07}"/>
              </a:ext>
            </a:extLst>
          </p:cNvPr>
          <p:cNvSpPr/>
          <p:nvPr/>
        </p:nvSpPr>
        <p:spPr>
          <a:xfrm>
            <a:off x="3244644" y="2202426"/>
            <a:ext cx="2939845" cy="1226573"/>
          </a:xfrm>
          <a:prstGeom prst="roundRect">
            <a:avLst>
              <a:gd name="adj" fmla="val 8233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D206F83-6712-FD57-0422-87F08C1AEAD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FC9B5D18-0E3D-809E-AE50-0285435195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CD5BB34-C713-E086-DFD7-6C23310A8B3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B27B8543-6506-0898-57E7-E06AE89DD65C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F3FC07F2-915F-E504-7C59-0BFEB34B2E1A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819D45E-BF62-7593-B276-A72B2B700A2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4E0D93-8538-6CFA-CF1B-047AC8F736D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AE51948-4FB5-9661-70C3-36FC94028B1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4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2F638E55-F062-6207-2645-9B929DD0268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  <p:sp>
        <p:nvSpPr>
          <p:cNvPr id="5" name="Flèche : gauche 4">
            <a:extLst>
              <a:ext uri="{FF2B5EF4-FFF2-40B4-BE49-F238E27FC236}">
                <a16:creationId xmlns:a16="http://schemas.microsoft.com/office/drawing/2014/main" id="{8C2F3DE0-9249-B86E-CFC5-3279F743F718}"/>
              </a:ext>
            </a:extLst>
          </p:cNvPr>
          <p:cNvSpPr/>
          <p:nvPr/>
        </p:nvSpPr>
        <p:spPr>
          <a:xfrm>
            <a:off x="6224710" y="2644877"/>
            <a:ext cx="356867" cy="255639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52224446"/>
      </p:ext>
    </p:extLst>
  </p:cSld>
  <p:clrMapOvr>
    <a:masterClrMapping/>
  </p:clrMapOvr>
  <p:transition spd="slow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5AE4D6-D4FE-F34C-6BBF-57E9758E0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187B7E45-8B16-257A-393F-B061F99F08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76161" y="1584000"/>
            <a:ext cx="3476698" cy="5184000"/>
          </a:xfrm>
          <a:prstGeom prst="rect">
            <a:avLst/>
          </a:prstGeom>
        </p:spPr>
      </p:pic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40B0FDCF-7ABA-8A8D-4D4F-466F3B43FD63}"/>
              </a:ext>
            </a:extLst>
          </p:cNvPr>
          <p:cNvSpPr/>
          <p:nvPr/>
        </p:nvSpPr>
        <p:spPr>
          <a:xfrm>
            <a:off x="3244644" y="2202426"/>
            <a:ext cx="2939845" cy="1226573"/>
          </a:xfrm>
          <a:prstGeom prst="roundRect">
            <a:avLst>
              <a:gd name="adj" fmla="val 8233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3538A477-9B2B-8918-5033-0C70F5A78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</a:t>
            </a:r>
            <a:endParaRPr lang="fr-FR" sz="2400" dirty="0"/>
          </a:p>
        </p:txBody>
      </p:sp>
      <p:pic>
        <p:nvPicPr>
          <p:cNvPr id="5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AD4D16E1-946C-A9E4-2C7F-FE2575C9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941901" y="596483"/>
            <a:ext cx="931034" cy="93103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924665C-22A4-C6A6-E4C8-C0E9FAB0D85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7E3F6A1A-9537-C8EA-A3FC-9957468A78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7C0248C-2896-8544-90B6-816DFEDC51E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B0006E3A-969E-1C8F-1AB3-155A16C22546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2477E46-CCD5-1853-58B3-87A0AB5BFD9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79080D8-D04F-01EA-1E21-5E7BB4EE5396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7E105F-E93C-EA5B-B417-ED61D6F7F75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3A2987-AEB9-BE99-0C73-CF79B2378E8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sp>
        <p:nvSpPr>
          <p:cNvPr id="3" name="Flèche : gauche 2">
            <a:extLst>
              <a:ext uri="{FF2B5EF4-FFF2-40B4-BE49-F238E27FC236}">
                <a16:creationId xmlns:a16="http://schemas.microsoft.com/office/drawing/2014/main" id="{9615A9D1-32F1-054A-9D8E-D05FC491214B}"/>
              </a:ext>
            </a:extLst>
          </p:cNvPr>
          <p:cNvSpPr/>
          <p:nvPr/>
        </p:nvSpPr>
        <p:spPr>
          <a:xfrm>
            <a:off x="6224710" y="2644877"/>
            <a:ext cx="356867" cy="255639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122893451"/>
      </p:ext>
    </p:extLst>
  </p:cSld>
  <p:clrMapOvr>
    <a:masterClrMapping/>
  </p:clrMapOvr>
  <p:transition spd="slow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D97E4D-272D-A246-1703-F056B0BC3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E7D00D-3FFF-84DA-846B-71208D950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آن.</a:t>
            </a:r>
            <a:endParaRPr lang="fr-FR" sz="2400" dirty="0"/>
          </a:p>
        </p:txBody>
      </p:sp>
      <p:pic>
        <p:nvPicPr>
          <p:cNvPr id="16" name="Espace réservé pour une image  15">
            <a:extLst>
              <a:ext uri="{FF2B5EF4-FFF2-40B4-BE49-F238E27FC236}">
                <a16:creationId xmlns:a16="http://schemas.microsoft.com/office/drawing/2014/main" id="{35C9C5C0-3EFD-5A52-1A2A-9E3DF46BF6C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637108"/>
            <a:ext cx="792000" cy="792000"/>
          </a:xfr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BAE78CEC-BC78-9A12-C4C8-0D8D1A62EA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76161" y="1584000"/>
            <a:ext cx="3476698" cy="5184000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135AC99C-FD8E-C0D8-9FBD-6BD329E571C3}"/>
              </a:ext>
            </a:extLst>
          </p:cNvPr>
          <p:cNvSpPr/>
          <p:nvPr/>
        </p:nvSpPr>
        <p:spPr>
          <a:xfrm>
            <a:off x="3244644" y="2202426"/>
            <a:ext cx="2939845" cy="1226573"/>
          </a:xfrm>
          <a:prstGeom prst="roundRect">
            <a:avLst>
              <a:gd name="adj" fmla="val 8233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5C33745-B34E-DDA2-E60C-18DDB3325EB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C69DB5A-121B-38B1-F728-E4997A1B33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9FBADCFC-0A2B-9A6F-9E4A-F37BA8A1FDB1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D63443F-4994-9B9E-AE79-D7CBC4AEEEF1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EA567C-7E6F-155F-2861-65C1B21F712C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AFBC2C4-F488-41B5-E11C-3E82A44C4F26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A244A5C-7678-4223-B039-DDAD083D528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FD5CC69-E72A-1FEE-7B3C-F800C7E70F02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sp>
        <p:nvSpPr>
          <p:cNvPr id="3" name="Flèche : gauche 2">
            <a:extLst>
              <a:ext uri="{FF2B5EF4-FFF2-40B4-BE49-F238E27FC236}">
                <a16:creationId xmlns:a16="http://schemas.microsoft.com/office/drawing/2014/main" id="{2B6E04C1-22A9-B8BD-A30C-56F4E9929D2D}"/>
              </a:ext>
            </a:extLst>
          </p:cNvPr>
          <p:cNvSpPr/>
          <p:nvPr/>
        </p:nvSpPr>
        <p:spPr>
          <a:xfrm>
            <a:off x="6224710" y="2644877"/>
            <a:ext cx="356867" cy="255639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798143397"/>
      </p:ext>
    </p:extLst>
  </p:cSld>
  <p:clrMapOvr>
    <a:masterClrMapping/>
  </p:clrMapOvr>
  <p:transition spd="slow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D14541-41DE-7D47-4D03-BCBB6BF8F5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01B48790-14E6-816A-0A7C-9F679AE8547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4749" b="43744"/>
          <a:stretch/>
        </p:blipFill>
        <p:spPr>
          <a:xfrm>
            <a:off x="691146" y="2355011"/>
            <a:ext cx="7900403" cy="1440612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4F76FA59-D10E-8C71-F798-9308A515F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جيب عن السؤال الأول؟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D743060-D270-2533-5491-42C39B460D0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3B6EFE94-9DBA-8377-E27A-E85B62FD97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EED453BB-8460-7A49-F13E-4CEE3026832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B435FE2-D4D0-3122-8009-D1460A5B57C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4B9795B-9EE7-6EDE-D532-9DC9E10EF28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57AD161-7A1E-1C14-5763-2588B1FCF824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A3B5F3-4AE3-77B3-54B2-FB9B9175A220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829284-F45C-B612-400D-6864B43513E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3" name="Espace réservé pour une image  15">
            <a:extLst>
              <a:ext uri="{FF2B5EF4-FFF2-40B4-BE49-F238E27FC236}">
                <a16:creationId xmlns:a16="http://schemas.microsoft.com/office/drawing/2014/main" id="{AF922B85-5B82-D5F9-4495-797448FF1EA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1681319892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4CE41-FEEC-9491-0DA5-71307BCDD6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457611A-7320-684C-F81A-1AE5EA588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441" y="881412"/>
            <a:ext cx="7886700" cy="720000"/>
          </a:xfrm>
        </p:spPr>
        <p:txBody>
          <a:bodyPr>
            <a:normAutofit/>
          </a:bodyPr>
          <a:lstStyle/>
          <a:p>
            <a:r>
              <a:rPr lang="ar-MA" sz="40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تنظيم حصص الأسبوع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57CE2658-CA21-E83E-5252-F002239D073E}"/>
              </a:ext>
            </a:extLst>
          </p:cNvPr>
          <p:cNvGrpSpPr/>
          <p:nvPr/>
        </p:nvGrpSpPr>
        <p:grpSpPr>
          <a:xfrm flipH="1">
            <a:off x="4735350" y="4939311"/>
            <a:ext cx="3780000" cy="1332000"/>
            <a:chOff x="4735350" y="5023288"/>
            <a:chExt cx="3780000" cy="1332000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03BB743F-C8AB-23D6-06EE-344CFF115A5F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13" name="Organigramme : Terminateur 12">
              <a:extLst>
                <a:ext uri="{FF2B5EF4-FFF2-40B4-BE49-F238E27FC236}">
                  <a16:creationId xmlns:a16="http://schemas.microsoft.com/office/drawing/2014/main" id="{552710A4-5C08-F139-B434-DCB40E406389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91666A1-FD43-165C-4D4D-2AB1E5289646}"/>
              </a:ext>
            </a:extLst>
          </p:cNvPr>
          <p:cNvGrpSpPr/>
          <p:nvPr/>
        </p:nvGrpSpPr>
        <p:grpSpPr>
          <a:xfrm flipH="1">
            <a:off x="4735350" y="3398136"/>
            <a:ext cx="3780000" cy="1332000"/>
            <a:chOff x="4735350" y="3482113"/>
            <a:chExt cx="3780000" cy="1332000"/>
          </a:xfrm>
        </p:grpSpPr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B9037693-DB46-89FF-2955-B70DAC6A1724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19" name="Organigramme : Terminateur 18">
              <a:extLst>
                <a:ext uri="{FF2B5EF4-FFF2-40B4-BE49-F238E27FC236}">
                  <a16:creationId xmlns:a16="http://schemas.microsoft.com/office/drawing/2014/main" id="{39FEDF2F-9A91-9E1F-CE58-3A773D210A9A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lang="f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 - </a:t>
              </a:r>
              <a:endParaRPr lang="ar-MA" sz="2000" b="1" dirty="0">
                <a:solidFill>
                  <a:srgbClr val="757575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0B9A4D98-C7AB-CFDC-8C5F-3CF6D60447B2}"/>
              </a:ext>
            </a:extLst>
          </p:cNvPr>
          <p:cNvGrpSpPr/>
          <p:nvPr/>
        </p:nvGrpSpPr>
        <p:grpSpPr>
          <a:xfrm flipH="1">
            <a:off x="628649" y="3398136"/>
            <a:ext cx="3780000" cy="1332000"/>
            <a:chOff x="628649" y="3482113"/>
            <a:chExt cx="3780000" cy="1332000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FB9D134F-B08A-AD59-ADF8-20CF6643F522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22" name="Organigramme : Terminateur 21">
              <a:extLst>
                <a:ext uri="{FF2B5EF4-FFF2-40B4-BE49-F238E27FC236}">
                  <a16:creationId xmlns:a16="http://schemas.microsoft.com/office/drawing/2014/main" id="{A3E44CB0-0E44-3BF9-6CAD-42FB6CCC8217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 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 -</a:t>
              </a:r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9E3A479A-EEFB-F915-EA6D-0DD2483EFFC9}"/>
              </a:ext>
            </a:extLst>
          </p:cNvPr>
          <p:cNvGrpSpPr/>
          <p:nvPr/>
        </p:nvGrpSpPr>
        <p:grpSpPr>
          <a:xfrm flipH="1">
            <a:off x="4716000" y="1860023"/>
            <a:ext cx="3780000" cy="1332000"/>
            <a:chOff x="4716000" y="1944000"/>
            <a:chExt cx="3780000" cy="1332000"/>
          </a:xfrm>
        </p:grpSpPr>
        <p:sp>
          <p:nvSpPr>
            <p:cNvPr id="24" name="Rectangle : coins arrondis 23">
              <a:extLst>
                <a:ext uri="{FF2B5EF4-FFF2-40B4-BE49-F238E27FC236}">
                  <a16:creationId xmlns:a16="http://schemas.microsoft.com/office/drawing/2014/main" id="{88207185-0779-F740-8062-E613F545AF84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25" name="Organigramme : Terminateur 24">
              <a:extLst>
                <a:ext uri="{FF2B5EF4-FFF2-40B4-BE49-F238E27FC236}">
                  <a16:creationId xmlns:a16="http://schemas.microsoft.com/office/drawing/2014/main" id="{D1A78702-1C85-B8FA-B6E7-487DC548638E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lang="f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 - </a:t>
              </a:r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EF2217A3-3DCE-8FA8-DC5D-88309677DB89}"/>
              </a:ext>
            </a:extLst>
          </p:cNvPr>
          <p:cNvGrpSpPr/>
          <p:nvPr/>
        </p:nvGrpSpPr>
        <p:grpSpPr>
          <a:xfrm flipH="1">
            <a:off x="648000" y="1860023"/>
            <a:ext cx="3780000" cy="1332000"/>
            <a:chOff x="648000" y="1944000"/>
            <a:chExt cx="3780000" cy="1332000"/>
          </a:xfrm>
        </p:grpSpPr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C6B37890-08DD-96EB-59EC-CFAE5575D3E5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29" name="Organigramme : Terminateur 28">
              <a:extLst>
                <a:ext uri="{FF2B5EF4-FFF2-40B4-BE49-F238E27FC236}">
                  <a16:creationId xmlns:a16="http://schemas.microsoft.com/office/drawing/2014/main" id="{B87D9F6C-1632-01E4-480B-407F5A63DD4A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 4 - </a:t>
              </a:r>
            </a:p>
          </p:txBody>
        </p:sp>
      </p:grp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id="{ECA8D43B-AB0F-7528-D9B6-BC3E1FED1511}"/>
              </a:ext>
            </a:extLst>
          </p:cNvPr>
          <p:cNvSpPr txBox="1">
            <a:spLocks/>
          </p:cNvSpPr>
          <p:nvPr/>
        </p:nvSpPr>
        <p:spPr>
          <a:xfrm>
            <a:off x="800611" y="2311311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ورشة الكتابة: إملاء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ورشة الكتابة : إنتاج كتابي – الحصة1 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2A11E91D-DD7F-4D68-6766-CCE041A224AC}"/>
              </a:ext>
            </a:extLst>
          </p:cNvPr>
          <p:cNvSpPr txBox="1">
            <a:spLocks/>
          </p:cNvSpPr>
          <p:nvPr/>
        </p:nvSpPr>
        <p:spPr>
          <a:xfrm>
            <a:off x="4909142" y="2311311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  <a:endParaRPr lang="fr-FR" sz="1600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معجم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استماع . </a:t>
            </a:r>
          </a:p>
        </p:txBody>
      </p:sp>
      <p:sp>
        <p:nvSpPr>
          <p:cNvPr id="32" name="Espace réservé du texte 25">
            <a:extLst>
              <a:ext uri="{FF2B5EF4-FFF2-40B4-BE49-F238E27FC236}">
                <a16:creationId xmlns:a16="http://schemas.microsoft.com/office/drawing/2014/main" id="{AAFE7851-E2D3-68F1-0F59-D7AEBD4371E4}"/>
              </a:ext>
            </a:extLst>
          </p:cNvPr>
          <p:cNvSpPr txBox="1">
            <a:spLocks/>
          </p:cNvSpPr>
          <p:nvPr/>
        </p:nvSpPr>
        <p:spPr>
          <a:xfrm>
            <a:off x="800611" y="385283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ما بعد القراءة : تقويم المقروء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ورشة الكتابة : إنتاج كتابي الحصة 2 </a:t>
            </a:r>
          </a:p>
        </p:txBody>
      </p:sp>
      <p:sp>
        <p:nvSpPr>
          <p:cNvPr id="33" name="Espace réservé du texte 25">
            <a:extLst>
              <a:ext uri="{FF2B5EF4-FFF2-40B4-BE49-F238E27FC236}">
                <a16:creationId xmlns:a16="http://schemas.microsoft.com/office/drawing/2014/main" id="{F995977D-D080-F8DC-1765-C92BA2C1448F}"/>
              </a:ext>
            </a:extLst>
          </p:cNvPr>
          <p:cNvSpPr txBox="1">
            <a:spLocks/>
          </p:cNvSpPr>
          <p:nvPr/>
        </p:nvSpPr>
        <p:spPr>
          <a:xfrm>
            <a:off x="4909142" y="385283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ما قبل القراءة: التوقع والتحقق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أثناء القراءة – الفهم </a:t>
            </a:r>
          </a:p>
        </p:txBody>
      </p:sp>
      <p:sp>
        <p:nvSpPr>
          <p:cNvPr id="35" name="Espace réservé du texte 25">
            <a:extLst>
              <a:ext uri="{FF2B5EF4-FFF2-40B4-BE49-F238E27FC236}">
                <a16:creationId xmlns:a16="http://schemas.microsoft.com/office/drawing/2014/main" id="{3EF57EB2-92EA-D577-5182-804203EE8AEF}"/>
              </a:ext>
            </a:extLst>
          </p:cNvPr>
          <p:cNvSpPr txBox="1">
            <a:spLocks/>
          </p:cNvSpPr>
          <p:nvPr/>
        </p:nvSpPr>
        <p:spPr>
          <a:xfrm>
            <a:off x="4909142" y="5390599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1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أثناء القراءة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sz="1600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ورشة الكتابة: الصرف والتحويل . </a:t>
            </a:r>
          </a:p>
        </p:txBody>
      </p:sp>
      <p:pic>
        <p:nvPicPr>
          <p:cNvPr id="2" name="Image 1" descr="Une image contenant Rectangle, conception&#10;&#10;Le contenu généré par l’IA peut être incorrect.">
            <a:extLst>
              <a:ext uri="{FF2B5EF4-FFF2-40B4-BE49-F238E27FC236}">
                <a16:creationId xmlns:a16="http://schemas.microsoft.com/office/drawing/2014/main" id="{B394A7D7-EDA0-D582-42DC-F0D1DB6E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7229" y="4909299"/>
            <a:ext cx="3831420" cy="1362012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BA90E6FB-8CC9-826B-0174-4723655A6D27}"/>
              </a:ext>
            </a:extLst>
          </p:cNvPr>
          <p:cNvSpPr txBox="1">
            <a:spLocks/>
          </p:cNvSpPr>
          <p:nvPr/>
        </p:nvSpPr>
        <p:spPr>
          <a:xfrm>
            <a:off x="757652" y="5378476"/>
            <a:ext cx="3420000" cy="792000"/>
          </a:xfrm>
          <a:prstGeom prst="roundRect">
            <a:avLst/>
          </a:prstGeom>
          <a:noFill/>
        </p:spPr>
        <p:txBody>
          <a:bodyPr anchor="ctr"/>
          <a:lstStyle>
            <a:lvl1pPr marL="269875" indent="-2698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  <a:sym typeface="Wingdings" panose="05000000000000000000" pitchFamily="2" charset="2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spcBef>
                <a:spcPts val="0"/>
              </a:spcBef>
              <a:buClr>
                <a:srgbClr val="424D7B"/>
              </a:buClr>
            </a:pPr>
            <a:r>
              <a:rPr lang="ar-MA" sz="1600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algn="r" rtl="1">
              <a:spcBef>
                <a:spcPts val="0"/>
              </a:spcBef>
              <a:buClr>
                <a:srgbClr val="424D7B"/>
              </a:buClr>
            </a:pPr>
            <a:r>
              <a:rPr lang="ar-MA" sz="1600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توليف (شكل وفهم) </a:t>
            </a:r>
          </a:p>
          <a:p>
            <a:pPr algn="r" rtl="1">
              <a:spcBef>
                <a:spcPts val="0"/>
              </a:spcBef>
              <a:buClr>
                <a:srgbClr val="424D7B"/>
              </a:buClr>
            </a:pPr>
            <a:r>
              <a:rPr lang="ar-MA" sz="1600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 : الحصة 1 </a:t>
            </a: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id="{427005E6-B6B9-7A50-B0EB-9D0ED6690F1B}"/>
              </a:ext>
            </a:extLst>
          </p:cNvPr>
          <p:cNvSpPr/>
          <p:nvPr/>
        </p:nvSpPr>
        <p:spPr>
          <a:xfrm>
            <a:off x="2917910" y="4909299"/>
            <a:ext cx="1260000" cy="360000"/>
          </a:xfrm>
          <a:prstGeom prst="flowChartTerminator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1"/>
            <a:r>
              <a:rPr lang="ar-MA" sz="2000" b="1" dirty="0">
                <a:solidFill>
                  <a:srgbClr val="757575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يوم</a:t>
            </a:r>
            <a:r>
              <a:rPr lang="fr-MA" sz="2000" b="1" dirty="0">
                <a:solidFill>
                  <a:srgbClr val="757575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6</a:t>
            </a:r>
            <a:r>
              <a:rPr lang="fr-MA" sz="1600" b="1" dirty="0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- </a:t>
            </a:r>
            <a:endParaRPr lang="ar-MA" sz="1600" b="1" dirty="0">
              <a:solidFill>
                <a:srgbClr val="474F71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253150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2" fill="hold" grpId="0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988D6A-58BE-6B02-2E32-1E0343B71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9107AD90-72E0-3266-7BB2-1A52D53B2EF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4749" b="54307"/>
          <a:stretch/>
        </p:blipFill>
        <p:spPr>
          <a:xfrm>
            <a:off x="691146" y="2355011"/>
            <a:ext cx="7900403" cy="107398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339C9F8-F1A8-94AE-EFF7-A082FA8360B6}"/>
              </a:ext>
            </a:extLst>
          </p:cNvPr>
          <p:cNvSpPr txBox="1"/>
          <p:nvPr/>
        </p:nvSpPr>
        <p:spPr>
          <a:xfrm>
            <a:off x="689577" y="3775970"/>
            <a:ext cx="80310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0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كانَ عُمْرُ مَرْيمَ أَمْجون تِسْعَ سَنَواتٍ حينَ تُوِّجَتْ بِلَقَبِ "بَطَلِ تَحَدّي </a:t>
            </a:r>
            <a:r>
              <a:rPr kumimoji="0" lang="ar-MA" sz="4000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ﭐلْقِراءَةِ</a:t>
            </a:r>
            <a:r>
              <a:rPr kumimoji="0" lang="ar-MA" sz="400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".</a:t>
            </a:r>
            <a:endParaRPr kumimoji="0" lang="fr-FR" sz="400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50E0995-0FE1-0E56-13DD-48446D015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قترح عليكم هذا الجواب. مارأيكم؟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  <a:endParaRPr lang="fr-FR" sz="2400" dirty="0"/>
          </a:p>
        </p:txBody>
      </p:sp>
      <p:pic>
        <p:nvPicPr>
          <p:cNvPr id="15" name="Espace réservé pour une image  15">
            <a:extLst>
              <a:ext uri="{FF2B5EF4-FFF2-40B4-BE49-F238E27FC236}">
                <a16:creationId xmlns:a16="http://schemas.microsoft.com/office/drawing/2014/main" id="{EE838C4A-9793-C168-58E4-6F66AC2774C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674882"/>
            <a:ext cx="792001" cy="792000"/>
          </a:xfr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FEA44F1F-B373-A0FC-12A4-EED1DBCB2D48}"/>
              </a:ext>
            </a:extLst>
          </p:cNvPr>
          <p:cNvSpPr txBox="1"/>
          <p:nvPr/>
        </p:nvSpPr>
        <p:spPr>
          <a:xfrm>
            <a:off x="4431906" y="3775970"/>
            <a:ext cx="17474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0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تِسْعَ سَنَواتٍ</a:t>
            </a:r>
            <a:endParaRPr kumimoji="0" lang="fr-FR" sz="400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FC255C9-EDB4-4493-9BEC-731917BD2DE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82D71BB-76F8-B29F-8043-ECC5B169D0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A7EC6D48-957F-22EF-EDE3-1B40EA8348D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82FB929-684B-074A-3DF4-C0340F8D07E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F60F5AB-FAA4-5AAC-8419-BAA9EE747F0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AE52F0-6B3B-E256-C3DF-786C50BD0E9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42EF2B-A1F4-E1BE-ED46-5833E130C26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F87FCD0-C523-2E00-456F-BC1AF77D3C3B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2181913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28343F-B697-0788-5630-F0319C4AD6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C40BED9E-D23F-4D9D-B75C-D4287E87B15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6256" b="3977"/>
          <a:stretch/>
        </p:blipFill>
        <p:spPr>
          <a:xfrm>
            <a:off x="632373" y="2587925"/>
            <a:ext cx="7900403" cy="1380226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EDA6E11F-9513-60A9-9C61-13EFA004C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rtl="0"/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يقرأ جوابه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عن السؤال الثاني؟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8473D4D-D485-2551-D0F9-CAA561D51B3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C594308-4FB4-1DCC-17EF-ECA382A182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460F563-ADA4-89D5-EE74-62EA8C2CB95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D27EFE6-A03A-319A-1404-995EAFA802B9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7B45A01-13AE-4B40-F9DD-2D9A3882068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771779-64BC-031C-D202-CAFB5A92299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53E1FB8-9B5C-E931-113D-525ADE7BD41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E94584-A52F-BBBA-E82A-6D89689C5F1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5">
            <a:extLst>
              <a:ext uri="{FF2B5EF4-FFF2-40B4-BE49-F238E27FC236}">
                <a16:creationId xmlns:a16="http://schemas.microsoft.com/office/drawing/2014/main" id="{AF2EE98E-FD37-410E-6CBD-FC9272E10A2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1840126661"/>
      </p:ext>
    </p:extLst>
  </p:cSld>
  <p:clrMapOvr>
    <a:masterClrMapping/>
  </p:clrMapOvr>
  <p:transition spd="slow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406EE9-7F89-CC47-DFB3-3D13C42AE6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59970FA3-D0AE-8337-56FA-ED1B3EC3774D}"/>
              </a:ext>
            </a:extLst>
          </p:cNvPr>
          <p:cNvSpPr txBox="1"/>
          <p:nvPr/>
        </p:nvSpPr>
        <p:spPr>
          <a:xfrm>
            <a:off x="565485" y="4502770"/>
            <a:ext cx="78759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تَهْتَمُّ مَرْيمُ أَمْجون </a:t>
            </a:r>
            <a:r>
              <a:rPr lang="ar-MA" sz="4000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بِـﭐللُّغاتِ</a:t>
            </a: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وﭐلرِّياضِيّاتِ </a:t>
            </a:r>
            <a:r>
              <a:rPr lang="ar-MA" sz="4000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ﭐلسّلامَةِ</a:t>
            </a: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طُّرُقِيَّةِ</a:t>
            </a: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...</a:t>
            </a:r>
            <a:endParaRPr lang="fr-FR" sz="40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798E415-9608-68A9-6BE5-2BCFA3D41AE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6256" b="19511"/>
          <a:stretch/>
        </p:blipFill>
        <p:spPr>
          <a:xfrm>
            <a:off x="455197" y="2719116"/>
            <a:ext cx="7900403" cy="841075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B51C6711-EBAD-C273-976E-5AE758D03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قترح عليكم هذا الجواب. مارأيكم؟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  <a:endParaRPr lang="fr-FR" sz="2400" dirty="0"/>
          </a:p>
        </p:txBody>
      </p:sp>
      <p:pic>
        <p:nvPicPr>
          <p:cNvPr id="24" name="Espace réservé pour une image  15">
            <a:extLst>
              <a:ext uri="{FF2B5EF4-FFF2-40B4-BE49-F238E27FC236}">
                <a16:creationId xmlns:a16="http://schemas.microsoft.com/office/drawing/2014/main" id="{9ABB8826-3EDD-F434-9AE3-45EB5623259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674882"/>
            <a:ext cx="792001" cy="792000"/>
          </a:xfr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1F41B237-CA10-93A6-B476-C3E891C6A979}"/>
              </a:ext>
            </a:extLst>
          </p:cNvPr>
          <p:cNvSpPr txBox="1"/>
          <p:nvPr/>
        </p:nvSpPr>
        <p:spPr>
          <a:xfrm>
            <a:off x="1180643" y="4502770"/>
            <a:ext cx="51279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4000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بِـﭐللُّغاتِ</a:t>
            </a: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ﭐلرِّياضِيّاتِ</a:t>
            </a: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ﭐلسَّلامَةِ</a:t>
            </a: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</a:t>
            </a:r>
            <a:r>
              <a:rPr lang="ar-MA" sz="4000" dirty="0" err="1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طُّرُقِيَّةِ</a:t>
            </a:r>
            <a:r>
              <a:rPr lang="ar-MA" sz="4000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...</a:t>
            </a:r>
            <a:endParaRPr lang="fr-FR" sz="4000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3EF8D30-7F45-A0BB-B695-9550A722E3D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B6F28A4-C75F-96AD-2E44-E9340A6343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14083C5-7FE6-0EE1-5EC5-DDD748687A40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A46F854-9A39-EDF8-1078-A7E22B987613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5036EAC-901D-9088-0D31-277731A37B3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D16E32-3E46-48C2-7853-19A3269394D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6BD4DB-E536-DD61-AAF7-66975249187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6A5E0F8-F10E-0663-DEAC-558BABD6DDA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9849946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785E3-6746-4593-039A-8886B021D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596C7B66-8C7B-C0B0-AB18-E3862FD399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071" y="2595682"/>
            <a:ext cx="8104964" cy="1666636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CB544382-E8EC-20DB-80B4-2D1CAC132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رأ جوابه عن السؤال الثالث؟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45DE7EF-AAAA-9FD5-21C0-2D214EA4D6B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66A79B1F-D8A0-9069-BCED-610077B8BF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B5731F1-C9A3-BA20-7757-45262425BB3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8A3FC17-C2A9-A2E8-5F6C-2CD3224D25D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FAD3784-7FC4-C1E6-1203-0C353E5E471F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A6F25C-C5F6-507E-1E19-46095B2A589B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78B2D0-ABC1-2362-23DB-1A4EB656E3C7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5723EE-6ECE-88A6-6880-6413B8492FB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9" name="Espace réservé pour une image  15">
            <a:extLst>
              <a:ext uri="{FF2B5EF4-FFF2-40B4-BE49-F238E27FC236}">
                <a16:creationId xmlns:a16="http://schemas.microsoft.com/office/drawing/2014/main" id="{70FDB401-26F3-E00B-BA5C-3A0E0EA8FB9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376070"/>
      </p:ext>
    </p:extLst>
  </p:cSld>
  <p:clrMapOvr>
    <a:masterClrMapping/>
  </p:clrMapOvr>
  <p:transition spd="slow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8B4E23-6C50-C7C2-5F6C-89820CC04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748DDFF-61E1-7EA7-F469-A749E84C6675}"/>
              </a:ext>
            </a:extLst>
          </p:cNvPr>
          <p:cNvSpPr txBox="1"/>
          <p:nvPr/>
        </p:nvSpPr>
        <p:spPr>
          <a:xfrm>
            <a:off x="496985" y="4087926"/>
            <a:ext cx="787591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ُؤَكِّدُ مَرْيَمُ أَمْجون عَلى أَهَمِّيَةِ ﭐلْقِراءَةِ، فَهِيَ مِفْتاحُ ﭐلتَّعَلُّمِ وَطَريقُ ﭐلتَّفَوُّقِ وَﭐلنَّجاحِ في حَياتِنا.</a:t>
            </a:r>
            <a:endParaRPr kumimoji="0" lang="fr-FR" sz="4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52F997C-A8C3-C610-E160-E5685CBB52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124" y="2317647"/>
            <a:ext cx="8104964" cy="1666636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B28F9875-7B12-2B47-B2B2-618284364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قترح عليكم هذا الجواب. مارأيكم؟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  <a:endParaRPr lang="fr-FR" sz="2400" dirty="0"/>
          </a:p>
        </p:txBody>
      </p:sp>
      <p:pic>
        <p:nvPicPr>
          <p:cNvPr id="24" name="Espace réservé pour une image  15">
            <a:extLst>
              <a:ext uri="{FF2B5EF4-FFF2-40B4-BE49-F238E27FC236}">
                <a16:creationId xmlns:a16="http://schemas.microsoft.com/office/drawing/2014/main" id="{88215840-A895-0A29-8186-1C9FD45FC6A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674882"/>
            <a:ext cx="792001" cy="792000"/>
          </a:xfr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7831A96-FDCE-737F-3722-E87679EACFE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BD57CB3-F2AE-4DCA-C233-BAEFEC1D90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7E64348-4F0C-8F6A-37AA-2C66E5CD2CD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51B333F-D2B7-3354-5969-9B959DE524FB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3046487-704C-24C5-43E4-A13DC3E983D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D2CD01-4898-A8D2-A79D-BBB9C0A2DE0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5C621F-BFBC-29D4-E800-89FB02D6974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0C88BA0-FAD4-4B5A-E66A-FE9C23E5046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7872328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97C58F-1F59-0D4F-D84E-D4D2DE641B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6A85BE5D-3575-1CA4-F873-49FAF42FE5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052" y="2578399"/>
            <a:ext cx="8427896" cy="1701201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7DB2540D-FAA3-528E-6465-4B47F5625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نمر لأنشطة اللغة،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اضبطوا الجملة في السؤال 4   بالشكل التام.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يكتبها الأستاذ على السبورة.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7E26DD0-57DD-55B9-81FD-7FFE2E9D644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0B67BAB-42A0-F07E-C399-12E97C4430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8DAA0A6-2350-E1FB-70AC-8D1A355CADE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FD9CFA1-BC4B-780B-D7C5-75DDB39976B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C6E79E3-69C8-5951-9C29-B5147BA9614C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55B006-D578-2DB1-6A30-D2060837410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334CAB-9CF2-4760-5194-9EE0D570E22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0F8AB5-7BCA-D6F5-D73B-F135536DFBB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2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284BA83B-04A0-A2F5-D81D-51FC8B9C939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1" y="684213"/>
            <a:ext cx="861148" cy="861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277844"/>
      </p:ext>
    </p:extLst>
  </p:cSld>
  <p:clrMapOvr>
    <a:masterClrMapping/>
  </p:clrMapOvr>
  <p:transition spd="slow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06FC9F-5C9C-940E-35A6-A948D3941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0462172F-BC25-F356-4E3A-F4AED81BF2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052" y="2578399"/>
            <a:ext cx="8427896" cy="1701201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B5951FE1-E127-ECF4-3CE5-6047183A5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.</a:t>
            </a:r>
            <a:endParaRPr lang="fr-FR" sz="2400" dirty="0"/>
          </a:p>
        </p:txBody>
      </p:sp>
      <p:pic>
        <p:nvPicPr>
          <p:cNvPr id="5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7CB2F1F2-DA14-FF79-554F-DAE5E2B6224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/>
          <a:stretch>
            <a:fillRect/>
          </a:stretch>
        </p:blipFill>
        <p:spPr>
          <a:xfrm>
            <a:off x="7959600" y="666000"/>
            <a:ext cx="792001" cy="7920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A51F0FF-CA4B-09CD-CA53-841A0956450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C6F5C41-B273-C22F-E74B-3EBDB7BF77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1CBF39A8-2A03-BAD1-52FE-7AA5E68A698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D7EBA59-F480-C98C-83D8-D7B7992588B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4124CF0-0365-C5AE-BBDC-644126BC9D8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0B7503-C65F-BABE-46FC-0A22E720ABC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48763E5-7AA7-78A4-60DE-BEF26372FAC1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6C9215-2ECD-FF30-356E-C8445DBDD3A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026657602"/>
      </p:ext>
    </p:extLst>
  </p:cSld>
  <p:clrMapOvr>
    <a:masterClrMapping/>
  </p:clrMapOvr>
  <p:transition spd="slow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46CDD-9A56-4BF9-4854-3EECAA669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0C68FAEC-A57B-7BE3-FEE8-6971C836E5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2397" b="-12397"/>
          <a:stretch>
            <a:fillRect/>
          </a:stretch>
        </p:blipFill>
        <p:spPr>
          <a:xfrm>
            <a:off x="358052" y="2578399"/>
            <a:ext cx="8427896" cy="1701201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2B741454-921F-C3AC-4E82-D5CD9472F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صحح؟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8230DF9-92E8-74DF-A400-7BD055331A2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32D40DC0-4485-4832-C97F-CCD161FB2D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408D8A17-F3F1-66CF-D807-90BF84919D9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AB1E86E-B153-50AC-0984-5EBAB3795B40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7225F00-515C-424F-2A43-04B5C52421C1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4294FE-562F-5DD8-AA70-93BE38FCA99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CC0C26-F547-6BF3-C346-C07B884DC34F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D8DF27-882B-7224-AB4E-662876166720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4" name="Espace réservé pour une image  15">
            <a:extLst>
              <a:ext uri="{FF2B5EF4-FFF2-40B4-BE49-F238E27FC236}">
                <a16:creationId xmlns:a16="http://schemas.microsoft.com/office/drawing/2014/main" id="{4C0B1835-5D71-C18E-079E-32B193E7F63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1" y="684213"/>
            <a:ext cx="861148" cy="861147"/>
          </a:xfrm>
        </p:spPr>
      </p:pic>
    </p:spTree>
    <p:extLst>
      <p:ext uri="{BB962C8B-B14F-4D97-AF65-F5344CB8AC3E}">
        <p14:creationId xmlns:p14="http://schemas.microsoft.com/office/powerpoint/2010/main" val="2219199913"/>
      </p:ext>
    </p:extLst>
  </p:cSld>
  <p:clrMapOvr>
    <a:masterClrMapping/>
  </p:clrMapOvr>
  <p:transition spd="slow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92CC37-216B-F0B7-0095-86AA1E20A5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6D7412BD-9C8F-3DBD-008C-E2C9A51B7850}"/>
              </a:ext>
            </a:extLst>
          </p:cNvPr>
          <p:cNvSpPr txBox="1"/>
          <p:nvPr/>
        </p:nvSpPr>
        <p:spPr>
          <a:xfrm>
            <a:off x="366902" y="2458521"/>
            <a:ext cx="8125862" cy="19409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just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5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َتَقاسَمُ تَجْرِبَتَها مَعَ </a:t>
            </a:r>
            <a:r>
              <a:rPr lang="ar-MA" sz="5400" b="1" dirty="0">
                <a:solidFill>
                  <a:srgbClr val="424D7C"/>
                </a:solidFill>
                <a:effectLst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5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مُتَعَلِّماتِ وَ</a:t>
            </a:r>
            <a:r>
              <a:rPr lang="ar-MA" sz="5400" b="1" dirty="0">
                <a:solidFill>
                  <a:srgbClr val="424D7C"/>
                </a:solidFill>
                <a:effectLst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5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مُتَعَلِّمينَ، وَتُشَجِّعُهُمْ عَلى </a:t>
            </a:r>
            <a:r>
              <a:rPr lang="ar-MA" sz="5400" b="1" dirty="0">
                <a:solidFill>
                  <a:srgbClr val="424D7C"/>
                </a:solidFill>
                <a:effectLst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5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قِراءَةِ وَ</a:t>
            </a:r>
            <a:r>
              <a:rPr lang="ar-MA" sz="5400" b="1" dirty="0">
                <a:solidFill>
                  <a:srgbClr val="424D7C"/>
                </a:solidFill>
                <a:effectLst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5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لْمُطالَعَةِ بِـ</a:t>
            </a:r>
            <a:r>
              <a:rPr lang="ar-MA" sz="5400" b="1" dirty="0">
                <a:solidFill>
                  <a:srgbClr val="424D7C"/>
                </a:solidFill>
                <a:effectLst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ﭐ</a:t>
            </a:r>
            <a:r>
              <a:rPr kumimoji="0" lang="ar-MA" sz="5400" b="1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سْتِمْرارٍ</a:t>
            </a:r>
            <a:r>
              <a:rPr kumimoji="0" lang="ar-MA" sz="54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.</a:t>
            </a:r>
            <a:endParaRPr kumimoji="0" lang="fr-FR" sz="54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F593AA7-15AE-2D89-FB99-CB165B732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 أخطاءكم.</a:t>
            </a:r>
            <a:endParaRPr lang="fr-FR" sz="2400" dirty="0"/>
          </a:p>
        </p:txBody>
      </p:sp>
      <p:pic>
        <p:nvPicPr>
          <p:cNvPr id="15" name="Espace réservé pour une image  14">
            <a:extLst>
              <a:ext uri="{FF2B5EF4-FFF2-40B4-BE49-F238E27FC236}">
                <a16:creationId xmlns:a16="http://schemas.microsoft.com/office/drawing/2014/main" id="{48E5D19D-B799-CA40-6AAC-B81087F4674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590216"/>
            <a:ext cx="792000" cy="792000"/>
          </a:xfr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36C133B-6F08-19DE-BCEE-56563C42AC9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700BB85-A65E-A1CB-8663-74FD171D52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8C212BC-370A-690C-DCF2-574951CAB8E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383F4068-D46D-F404-E096-667B5B590C7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EC8D2E3-49A9-2E67-5FD3-299669C8BDA6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91D21B-DE3B-F841-5783-62834B5FDBF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A1F56E-F513-A12B-DB89-B049302C8657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746740-5F66-D01D-ED72-F70A0A4D765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254738144"/>
      </p:ext>
    </p:extLst>
  </p:cSld>
  <p:clrMapOvr>
    <a:masterClrMapping/>
  </p:clrMapOvr>
  <p:transition spd="slow"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03F95-8C13-0774-E103-0D698FD943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E25226-7FC9-C189-1CF5-4F80281629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90724" y="1698579"/>
            <a:ext cx="3594192" cy="4887082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9BAA5A11-F93C-3CB6-5433-039D113836E8}"/>
              </a:ext>
            </a:extLst>
          </p:cNvPr>
          <p:cNvSpPr/>
          <p:nvPr/>
        </p:nvSpPr>
        <p:spPr>
          <a:xfrm>
            <a:off x="2881026" y="3864076"/>
            <a:ext cx="3013587" cy="2326414"/>
          </a:xfrm>
          <a:prstGeom prst="roundRect">
            <a:avLst>
              <a:gd name="adj" fmla="val 7243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7EAE19EC-AE8C-E9A6-D1AE-27426F9F1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واصل .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جيبوا عن الأسئلة 5-6-7 .</a:t>
            </a:r>
            <a:endParaRPr lang="fr-FR" sz="240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7965F82-2BE7-AAF0-2F99-2B0522C69DC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5BE29C5-4820-1662-C933-1EF56C43FC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79D0AB2-33BD-6395-6AD2-4704420EE1C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F11A762-A769-C6F4-607F-74E60553E354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8DD0B73-F37D-1AF7-587C-B005B1A12367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8B140D1-676A-84B4-BFB6-F3E325948EE8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20765C-0D24-1BA8-1981-C478752A1EC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B58BFA8-B829-1650-F6D0-1FBAB06EE13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3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D2E79A67-1791-5C06-CD07-6EDB372EB1E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796413" cy="796412"/>
          </a:xfrm>
          <a:prstGeom prst="rect">
            <a:avLst/>
          </a:prstGeom>
        </p:spPr>
      </p:pic>
      <p:sp>
        <p:nvSpPr>
          <p:cNvPr id="15" name="Flèche : gauche 14">
            <a:extLst>
              <a:ext uri="{FF2B5EF4-FFF2-40B4-BE49-F238E27FC236}">
                <a16:creationId xmlns:a16="http://schemas.microsoft.com/office/drawing/2014/main" id="{7A4ECF0E-8790-1434-0AFA-04730893F0F9}"/>
              </a:ext>
            </a:extLst>
          </p:cNvPr>
          <p:cNvSpPr/>
          <p:nvPr/>
        </p:nvSpPr>
        <p:spPr>
          <a:xfrm>
            <a:off x="5839380" y="5027283"/>
            <a:ext cx="400769" cy="2359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858180176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972B4-C44B-E09C-EE08-A90857F51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A3DE6C-9D36-D490-EE1D-FDC57D3CE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883" y="973666"/>
            <a:ext cx="7886700" cy="705267"/>
          </a:xfrm>
        </p:spPr>
        <p:txBody>
          <a:bodyPr>
            <a:normAutofit fontScale="90000"/>
          </a:bodyPr>
          <a:lstStyle/>
          <a:p>
            <a:pPr rtl="1"/>
            <a:r>
              <a:rPr lang="ar-MA" sz="4400" dirty="0">
                <a:cs typeface="Microsoft Uighur" panose="02000000000000000000" pitchFamily="2" charset="-78"/>
              </a:rPr>
              <a:t>هيكلة حصة اليوم</a:t>
            </a:r>
            <a:endParaRPr lang="fr-MA" sz="4400" dirty="0">
              <a:cs typeface="+mn-cs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E0E8333-939B-361D-3F27-3CFF2D91FB9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noFill/>
        </p:spPr>
        <p:txBody>
          <a:bodyPr vert="horz" lIns="91440" tIns="45720" rIns="91440" bIns="45720" rtlCol="0" anchor="ctr">
            <a:normAutofit/>
          </a:bodyPr>
          <a:lstStyle/>
          <a:p>
            <a:pPr>
              <a:buClrTx/>
            </a:pPr>
            <a:r>
              <a:rPr lang="ar-MA" sz="28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شكل وفهم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F16054E-456A-7E90-8941-D9D568C0AB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noFill/>
        </p:spPr>
        <p:txBody>
          <a:bodyPr vert="horz" lIns="91440" tIns="45720" rIns="91440" bIns="45720" rtlCol="0" anchor="ctr">
            <a:normAutofit/>
          </a:bodyPr>
          <a:lstStyle/>
          <a:p>
            <a:pPr>
              <a:buClrTx/>
            </a:pPr>
            <a:r>
              <a:rPr lang="ar-MA" sz="28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 الأولى – الجزء الأولى: توقع و تحقق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B712674F-7A01-DDE7-0953-D7E2037282D8}"/>
              </a:ext>
            </a:extLst>
          </p:cNvPr>
          <p:cNvSpPr txBox="1">
            <a:spLocks/>
          </p:cNvSpPr>
          <p:nvPr/>
        </p:nvSpPr>
        <p:spPr>
          <a:xfrm>
            <a:off x="1910675" y="2140211"/>
            <a:ext cx="4500000" cy="684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266700" indent="-266700" algn="r" defTabSz="914400" rtl="1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  <a:defRPr sz="2800" b="1">
                <a:solidFill>
                  <a:srgbClr val="424D7B"/>
                </a:solidFill>
                <a:latin typeface="Dosis SemiBold" pitchFamily="2" charset="0"/>
                <a:cs typeface="Microsoft Uighur" panose="02000000000000000000" pitchFamily="2" charset="-78"/>
              </a:defRPr>
            </a:lvl1pPr>
            <a:lvl2pPr marL="685800" indent="-228600" algn="r" defTabSz="914400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defRPr/>
            </a:pPr>
            <a:r>
              <a:rPr lang="ar-MA" dirty="0">
                <a:latin typeface="Microsoft Uighur" panose="02000000000000000000" pitchFamily="2" charset="-78"/>
              </a:rPr>
              <a:t>دقيقة الكتابة</a:t>
            </a:r>
          </a:p>
        </p:txBody>
      </p:sp>
      <p:pic>
        <p:nvPicPr>
          <p:cNvPr id="21" name="Espace réservé pour une image  20">
            <a:extLst>
              <a:ext uri="{FF2B5EF4-FFF2-40B4-BE49-F238E27FC236}">
                <a16:creationId xmlns:a16="http://schemas.microsoft.com/office/drawing/2014/main" id="{0DA82112-90E2-B294-5AE9-E113695BAAC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2120" y="1635472"/>
            <a:ext cx="406533" cy="468000"/>
          </a:xfrm>
        </p:spPr>
      </p:pic>
      <p:pic>
        <p:nvPicPr>
          <p:cNvPr id="14" name="Google Shape;1234;p4">
            <a:extLst>
              <a:ext uri="{FF2B5EF4-FFF2-40B4-BE49-F238E27FC236}">
                <a16:creationId xmlns:a16="http://schemas.microsoft.com/office/drawing/2014/main" id="{11A30F85-ACAF-4B1B-9407-0D2C320DC2A0}"/>
              </a:ext>
            </a:extLst>
          </p:cNvPr>
          <p:cNvPicPr preferRelativeResize="0">
            <a:picLocks noGrp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365" r="-7365"/>
          <a:stretch>
            <a:fillRect/>
          </a:stretch>
        </p:blipFill>
        <p:spPr>
          <a:xfrm>
            <a:off x="1552023" y="2916326"/>
            <a:ext cx="466725" cy="46831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234;p4">
            <a:extLst>
              <a:ext uri="{FF2B5EF4-FFF2-40B4-BE49-F238E27FC236}">
                <a16:creationId xmlns:a16="http://schemas.microsoft.com/office/drawing/2014/main" id="{7C49885B-EC7E-48C0-BD36-03342386D02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 cstate="screen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7365" r="-7365"/>
          <a:stretch/>
        </p:blipFill>
        <p:spPr>
          <a:xfrm>
            <a:off x="1508690" y="4217229"/>
            <a:ext cx="466725" cy="4683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3298963"/>
      </p:ext>
    </p:extLst>
  </p:cSld>
  <p:clrMapOvr>
    <a:masterClrMapping/>
  </p:clrMapOvr>
  <p:transition spd="slow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113D06-5A02-0C38-F3F2-451FF568B8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2AE19B7-3A61-7BCC-7E1E-522881520D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064" y="1458664"/>
            <a:ext cx="3087756" cy="4604066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B1A6B12C-0C81-D79C-45D4-6FE2D576D7F8}"/>
              </a:ext>
            </a:extLst>
          </p:cNvPr>
          <p:cNvSpPr/>
          <p:nvPr/>
        </p:nvSpPr>
        <p:spPr>
          <a:xfrm>
            <a:off x="3126657" y="3510117"/>
            <a:ext cx="2605549" cy="2054941"/>
          </a:xfrm>
          <a:prstGeom prst="roundRect">
            <a:avLst>
              <a:gd name="adj" fmla="val 7243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>
              <a:latin typeface="Microsoft Uighur" panose="02000000000000000000" pitchFamily="2" charset="-78"/>
            </a:endParaRP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C4A4E15B-5ED6-C607-9B82-116A87BAE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.</a:t>
            </a:r>
            <a:endParaRPr lang="fr-FR" sz="2400" dirty="0"/>
          </a:p>
        </p:txBody>
      </p:sp>
      <p:pic>
        <p:nvPicPr>
          <p:cNvPr id="16" name="Espace réservé pour une image  15">
            <a:extLst>
              <a:ext uri="{FF2B5EF4-FFF2-40B4-BE49-F238E27FC236}">
                <a16:creationId xmlns:a16="http://schemas.microsoft.com/office/drawing/2014/main" id="{8B947FEC-E023-4B5F-09B4-6048DDBBEFC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612444"/>
            <a:ext cx="792000" cy="792000"/>
          </a:xfr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64D6A94-2615-B50B-9DA4-4F21DE368C9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1D060F3-BF00-B0F9-0973-BDFE24E038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A06B8AAB-08F4-4E69-E8E5-4A084A49AD0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B5B2C24-1EE4-0A7F-622E-9B68AEBB2B0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247DABD-BB4C-92C0-B7DC-F823E0E4651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7E3EE3-B08E-0324-0BE1-7D0509ED61C9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07083-C1EB-C4F0-2965-F0E016EA3BD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CAAE40-F8C1-D577-1391-30A03AF5D84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sp>
        <p:nvSpPr>
          <p:cNvPr id="7" name="Flèche : gauche 6">
            <a:extLst>
              <a:ext uri="{FF2B5EF4-FFF2-40B4-BE49-F238E27FC236}">
                <a16:creationId xmlns:a16="http://schemas.microsoft.com/office/drawing/2014/main" id="{3ADA98AD-1C74-61D1-2294-F4F35823C510}"/>
              </a:ext>
            </a:extLst>
          </p:cNvPr>
          <p:cNvSpPr/>
          <p:nvPr/>
        </p:nvSpPr>
        <p:spPr>
          <a:xfrm>
            <a:off x="5788434" y="4419599"/>
            <a:ext cx="400769" cy="2359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593561305"/>
      </p:ext>
    </p:extLst>
  </p:cSld>
  <p:clrMapOvr>
    <a:masterClrMapping/>
  </p:clrMapOvr>
  <p:transition spd="slow"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4EC90-378A-4456-3D24-F9A63E366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E89B106E-AF91-394B-B353-3912240C32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224" y="1971404"/>
            <a:ext cx="8006287" cy="4613176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78AEBF50-8271-53F6-4665-1191274E5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صحح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سؤال 5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؟</a:t>
            </a:r>
            <a:endParaRPr lang="fr-FR" sz="2400" dirty="0"/>
          </a:p>
        </p:txBody>
      </p:sp>
      <p:pic>
        <p:nvPicPr>
          <p:cNvPr id="24" name="Espace réservé pour une image  15">
            <a:extLst>
              <a:ext uri="{FF2B5EF4-FFF2-40B4-BE49-F238E27FC236}">
                <a16:creationId xmlns:a16="http://schemas.microsoft.com/office/drawing/2014/main" id="{21ADC287-5836-FCE9-AB1C-18D158FF0BC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637321"/>
            <a:ext cx="792001" cy="792000"/>
          </a:xfr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0DC2F41-6013-B76C-2FDE-6FF49F6BC10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20EA0C9-E446-F9C0-3C99-4A8D53F960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F590E4B-1397-C14C-63EF-D3AE592021D0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231A089-4CF1-9B9F-EF54-D13DFDD58404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D959ED0-D06B-419E-91C8-DA4436D360B2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BDFE22-EF4D-DAB2-A6D2-C8091D92447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77E932B-4B77-82CA-8DDF-9114E8AAB66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2787A3-2BC1-68A5-151B-7A2E9703F84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512651020"/>
      </p:ext>
    </p:extLst>
  </p:cSld>
  <p:clrMapOvr>
    <a:masterClrMapping/>
  </p:clrMapOvr>
  <p:transition spd="slow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75EAE-5626-F94B-AE1E-56B5791BC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9AADD621-70A7-9FF9-7DF0-9196BE87F7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373" y="1895113"/>
            <a:ext cx="7507241" cy="432562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7A8F7C3-39D4-31A7-638C-18B113169EAA}"/>
              </a:ext>
            </a:extLst>
          </p:cNvPr>
          <p:cNvSpPr txBox="1"/>
          <p:nvPr/>
        </p:nvSpPr>
        <p:spPr>
          <a:xfrm>
            <a:off x="4786137" y="4352737"/>
            <a:ext cx="13154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أَمْرُ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DA5643E-F98B-C9BC-4CAB-8D9863D75BA7}"/>
              </a:ext>
            </a:extLst>
          </p:cNvPr>
          <p:cNvSpPr txBox="1"/>
          <p:nvPr/>
        </p:nvSpPr>
        <p:spPr>
          <a:xfrm>
            <a:off x="4972970" y="3411597"/>
            <a:ext cx="12262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ماضي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63B8222-A71D-0A6D-EB8C-A8456C419F27}"/>
              </a:ext>
            </a:extLst>
          </p:cNvPr>
          <p:cNvSpPr txBox="1"/>
          <p:nvPr/>
        </p:nvSpPr>
        <p:spPr>
          <a:xfrm>
            <a:off x="4873998" y="5382365"/>
            <a:ext cx="12262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َلْمُضارِعُ</a:t>
            </a:r>
            <a:endParaRPr lang="fr-FR" sz="32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FFD51E57-FE9E-BA18-CB56-68CA92ECF0CA}"/>
              </a:ext>
            </a:extLst>
          </p:cNvPr>
          <p:cNvSpPr txBox="1"/>
          <p:nvPr/>
        </p:nvSpPr>
        <p:spPr>
          <a:xfrm>
            <a:off x="996651" y="3423716"/>
            <a:ext cx="30877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قَدَّمَ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b="1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تَّلاميذُ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َسْرَحِيَّةً.</a:t>
            </a:r>
            <a:endParaRPr lang="fr-FR" sz="3600" b="1" dirty="0">
              <a:solidFill>
                <a:srgbClr val="C00000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89EABC-43D9-8975-629C-574F5CD1433B}"/>
              </a:ext>
            </a:extLst>
          </p:cNvPr>
          <p:cNvSpPr txBox="1"/>
          <p:nvPr/>
        </p:nvSpPr>
        <p:spPr>
          <a:xfrm>
            <a:off x="386152" y="4355246"/>
            <a:ext cx="38771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قِفْ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b="1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وَﭐنْتَبِهْ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قَبْلَ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عُبورِ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b="1" dirty="0" err="1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ﭐلطَّريقِ</a:t>
            </a: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.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11F8A67-388E-D686-49CC-B14D5DD4ED14}"/>
              </a:ext>
            </a:extLst>
          </p:cNvPr>
          <p:cNvSpPr txBox="1"/>
          <p:nvPr/>
        </p:nvSpPr>
        <p:spPr>
          <a:xfrm>
            <a:off x="0" y="5376073"/>
            <a:ext cx="4776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8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يَسْتَطيعُ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2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كُلُّ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2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تِلْميذٍ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2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أَنْ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2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يَكونَ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2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ُواطِناً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200" b="1" dirty="0">
                <a:solidFill>
                  <a:srgbClr val="C00000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صالِحاً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.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7E0F5AA5-56CA-7C10-B178-3FCDD18C8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 أخطاءكم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16E9BC8-9EE4-9B6B-F2F0-45A8476C15B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05F6391-6787-D181-EAE2-C41824B83D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3BD1B61-D30D-6661-E688-3B585211174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2A90319-EE22-289D-B294-F60BE486F90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9BC60A4-5682-3F23-57C3-788A03969919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3CBBBD-F50E-DF50-1C00-A9ECAA02FB6C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1CF98B-5638-9AFB-F5FE-E984EE37B7EB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859156-A3C2-3340-5527-8A8B80A523C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8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D908DF8B-CE10-FF34-6C52-3FADCAA8893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786581" cy="78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3837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1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6A7751-BC4C-6B4F-E930-19E88599FD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7BA6BFC-6F29-D205-B347-7802CF068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60004"/>
            <a:ext cx="7886700" cy="720000"/>
          </a:xfrm>
        </p:spPr>
        <p:txBody>
          <a:bodyPr>
            <a:normAutofit/>
          </a:bodyPr>
          <a:lstStyle/>
          <a:p>
            <a:r>
              <a:rPr lang="ar-MA" sz="4000" dirty="0">
                <a:solidFill>
                  <a:srgbClr val="424D7B"/>
                </a:solidFill>
              </a:rPr>
              <a:t>القراءة الإثرائية</a:t>
            </a:r>
            <a:endParaRPr lang="fr-MA" sz="4000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" name="Image 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088FBF13-90C9-A31E-E171-2C35BEBBA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742" y="2092482"/>
            <a:ext cx="7325033" cy="2590253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1CBC2E27-D2C0-D4C0-CA0F-C93BFD302377}"/>
              </a:ext>
            </a:extLst>
          </p:cNvPr>
          <p:cNvSpPr txBox="1">
            <a:spLocks/>
          </p:cNvSpPr>
          <p:nvPr/>
        </p:nvSpPr>
        <p:spPr>
          <a:xfrm>
            <a:off x="2512421" y="304560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buClr>
                <a:srgbClr val="424D7B"/>
              </a:buClr>
            </a:pPr>
            <a:r>
              <a:rPr lang="ar-MA" sz="24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حصة الأولى – الجزء الأولى: توقع و تحقق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C5B121E-C23C-D9D4-3A07-138F5A33240E}"/>
              </a:ext>
            </a:extLst>
          </p:cNvPr>
          <p:cNvSpPr txBox="1"/>
          <p:nvPr/>
        </p:nvSpPr>
        <p:spPr>
          <a:xfrm>
            <a:off x="5463584" y="2496564"/>
            <a:ext cx="18053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rtl="1"/>
            <a:r>
              <a:rPr lang="fr-MA" sz="24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 -  03 </a:t>
            </a:r>
            <a:r>
              <a:rPr lang="ar-MA" sz="24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167EF5D-04A9-B014-ED36-08EF1751B53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333395" y="2696619"/>
            <a:ext cx="622967" cy="792000"/>
          </a:xfrm>
          <a:prstGeom prst="rect">
            <a:avLst/>
          </a:prstGeom>
        </p:spPr>
      </p:pic>
      <p:pic>
        <p:nvPicPr>
          <p:cNvPr id="18" name="Espace réservé pour une image  20">
            <a:extLst>
              <a:ext uri="{FF2B5EF4-FFF2-40B4-BE49-F238E27FC236}">
                <a16:creationId xmlns:a16="http://schemas.microsoft.com/office/drawing/2014/main" id="{78B600D9-F838-E82E-3D87-A8A54697592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706722" y="2346229"/>
            <a:ext cx="612000" cy="612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9AACE1C-C77A-BEF1-BF8E-9585D3AD6E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71737" y="1004004"/>
            <a:ext cx="432000" cy="43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191759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0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7ACAF-A68C-4C03-DF04-C9211C511C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9F9403CB-D969-3A49-81B3-B1D9730B59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81035" y="2106288"/>
            <a:ext cx="3600000" cy="36000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54319FB4-DF06-0E23-9F31-47A24DE65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يوم سنشرع في أول حصة للقراءة الإثرائية. ستتعلمون كيف تتصفحون الكتاب لتوقع مضمونه و التخطيط لقراءته.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41FC96C-5225-A586-CE19-E8C100F9059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6218F91-16A4-8551-EB87-3B790C635AB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58342D9-EE81-F25D-5841-F338DA7FEB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41E5396-2AA7-46B9-500D-4B739C7046A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63E2E30-72A2-E844-7BC6-D1457F1F02B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0C99C2-D9E2-0727-80AA-5200934B9F2A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BA1C81-A5BD-46F4-2E74-7C2BE3751FA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F6926D-BFDE-B878-97D5-43274511096D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5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05FFE03D-2250-A14A-A855-64405485C10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800459" cy="800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749340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40C54-A1C3-1E31-BE29-87429474D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Google Shape;1138;p44">
            <a:extLst>
              <a:ext uri="{FF2B5EF4-FFF2-40B4-BE49-F238E27FC236}">
                <a16:creationId xmlns:a16="http://schemas.microsoft.com/office/drawing/2014/main" id="{03EA867F-7D3B-D604-5CF8-768A428D3A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8359264"/>
              </p:ext>
            </p:extLst>
          </p:nvPr>
        </p:nvGraphicFramePr>
        <p:xfrm>
          <a:off x="864331" y="1591206"/>
          <a:ext cx="6840001" cy="4836963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44896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3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1318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نوان الكتاب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ؤلف الكتاب 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دد صفحاته / عدد أجزائه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Calibri"/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تاريخ النشر والناشر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نوع 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تاريخ الشروع في القراءة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75603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توقعاتي حول مضمون الكتاب: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100" marR="3710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318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تخطيط للقراءة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دد الصفحات التي ستتم قراءتها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أسبوع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أول 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318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..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ثاني </a:t>
                      </a:r>
                      <a:endParaRPr kumimoji="0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E7DDD88-ECE7-107C-175C-7A67E4935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تستعينون بجذاذة القراءة لتسجيل معلومات عن الكتاب و توقعاتكم  والتخطيط لقراءته.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226AD51-1BB7-7CA2-801D-6A17D0D5174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0951BDD-894F-9E4B-2A74-EF1BBD9F730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129D127-5BAB-47B0-46EF-635FF9E459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38468A4A-E345-9BB5-4D9D-E0E0CE501C0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B01C120-9F32-88DD-C652-A7A263AFBB1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C92517-9C32-9C74-D80B-9F7BD59FF7A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5C8D521-26F3-4299-3B9C-854FA0893165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A994A4-1F2B-0D3E-348C-24D4B40D83D9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7" name="Espace réservé pour une image  11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EFE6A7E6-404F-B79F-A904-C1E234E9AD9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2229137259"/>
      </p:ext>
    </p:extLst>
  </p:cSld>
  <p:clrMapOvr>
    <a:masterClrMapping/>
  </p:clrMapOvr>
  <p:transition spd="slow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3419D-2D8E-A391-EA62-AF942EE78A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977;p34">
            <a:extLst>
              <a:ext uri="{FF2B5EF4-FFF2-40B4-BE49-F238E27FC236}">
                <a16:creationId xmlns:a16="http://schemas.microsoft.com/office/drawing/2014/main" id="{A13E2E8F-E638-B807-CDF9-432F61D1C081}"/>
              </a:ext>
            </a:extLst>
          </p:cNvPr>
          <p:cNvPicPr preferRelativeResize="0"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332" b="-4332"/>
          <a:stretch>
            <a:fillRect/>
          </a:stretch>
        </p:blipFill>
        <p:spPr>
          <a:xfrm>
            <a:off x="2761745" y="1790375"/>
            <a:ext cx="3620509" cy="4940818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Titre 18">
            <a:extLst>
              <a:ext uri="{FF2B5EF4-FFF2-40B4-BE49-F238E27FC236}">
                <a16:creationId xmlns:a16="http://schemas.microsoft.com/office/drawing/2014/main" id="{2269EBD3-EE75-3DD9-4C79-C72AF175D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نتبهوا معي سأقوم بتصفح كتاب قصد تعبئة جذاذة القراءة . 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lang="ar-MA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تتم الاستعانة بكتب أو قصص من مكتبة القسم أو مكتبة المدرسة حسب ما هو متاح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.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692774C-4066-B0D2-3025-E1C05E18ED2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B242D09-A9A9-3070-C6C6-83EDDB5BF0D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F392453-9DCB-D11F-5CAD-0607BF34C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4CDE9C4-D945-7AD3-23ED-E73DDB1DB2E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2DFF8BC-D28C-190C-9CE2-FDFD35BDE50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F5B62D-1B4D-3378-4126-A152846000D1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3E1132-7614-BC74-DF6E-F1671D83BC34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B1AEE0B-8EAD-9BD9-7AB0-1446C06A099F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2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8942BD97-00AE-9654-4A20-1FC4EC61AC1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810291" cy="81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115772"/>
      </p:ext>
    </p:extLst>
  </p:cSld>
  <p:clrMapOvr>
    <a:masterClrMapping/>
  </p:clrMapOvr>
  <p:transition spd="slow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42F730-3CC8-4026-E162-97F7DB4F3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livre, texte, conception&#10;&#10;Description générée automatiquement">
            <a:extLst>
              <a:ext uri="{FF2B5EF4-FFF2-40B4-BE49-F238E27FC236}">
                <a16:creationId xmlns:a16="http://schemas.microsoft.com/office/drawing/2014/main" id="{9140D0FC-313D-6641-B9FF-B08233E5D7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476" y="2470985"/>
            <a:ext cx="3715935" cy="1916029"/>
          </a:xfrm>
          <a:prstGeom prst="rect">
            <a:avLst/>
          </a:prstGeom>
        </p:spPr>
      </p:pic>
      <p:sp>
        <p:nvSpPr>
          <p:cNvPr id="18" name="Titre 17">
            <a:extLst>
              <a:ext uri="{FF2B5EF4-FFF2-40B4-BE49-F238E27FC236}">
                <a16:creationId xmlns:a16="http://schemas.microsoft.com/office/drawing/2014/main" id="{DBED1190-5BF5-DAF9-8D61-86DEACEFA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ولا اتصفح غلاف الكتاب وأقرأ محتوى الصفحة الأولى و الصفحة الأخيرة للغلاف .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2F7D12BF-A8B9-F2A1-8564-1E3340ECBC2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94D143C-B9FC-74F0-173B-88032DC5A26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0934E63-082B-8290-2167-3AA0536FC3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777B73D-5AE3-296A-E42A-F007A54D52D9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5CD5B06-412E-C8D3-5C50-2A78E93C249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10F78B-F790-EA6E-1F4E-611AE5231DDB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568D6E-F376-3B4B-5D12-4A4B6C689B2E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462C60-E6C6-0E71-8960-AA12340DF1A1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2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D051066B-8675-C222-7731-5E8F93ED367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24900"/>
      </p:ext>
    </p:extLst>
  </p:cSld>
  <p:clrMapOvr>
    <a:masterClrMapping/>
  </p:clrMapOvr>
  <p:transition spd="slow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DEFA5F-986A-5E4B-80F5-0EAA4E73A2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livre, texte, conception&#10;&#10;Description générée automatiquement">
            <a:extLst>
              <a:ext uri="{FF2B5EF4-FFF2-40B4-BE49-F238E27FC236}">
                <a16:creationId xmlns:a16="http://schemas.microsoft.com/office/drawing/2014/main" id="{66BDA55D-33DC-8DC0-22F0-8362122193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039" y="4690590"/>
            <a:ext cx="3715935" cy="1916029"/>
          </a:xfrm>
          <a:prstGeom prst="rect">
            <a:avLst/>
          </a:prstGeom>
        </p:spPr>
      </p:pic>
      <p:sp>
        <p:nvSpPr>
          <p:cNvPr id="30" name="Titre 29">
            <a:extLst>
              <a:ext uri="{FF2B5EF4-FFF2-40B4-BE49-F238E27FC236}">
                <a16:creationId xmlns:a16="http://schemas.microsoft.com/office/drawing/2014/main" id="{6270FA0D-6D15-663C-53FC-51588E6E7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ثانيا : أبحث عن عنوان الكتاب و المؤلف و تاريخ النشر  و الناشر و أسجله على الجذاذة. 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23F52DE-2315-3E4C-234F-22E346CB9E5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388C265-D268-2BE7-5C4E-6E037FFC5A0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E02959F4-141E-F462-9D47-B2674246E4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875C2BE-36E2-56D8-EC29-5876F57793A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9D0BC5-79F5-061E-D2BF-8E86D8B04338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E4BAC7-6D22-03BF-2D7F-A0E8538A4DA0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008B0D-CF3D-4D5E-2EC0-37D568037BB2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5A0159-593F-9C67-8798-D44656454FF5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1" name="Image 10" descr="Une image contenant capture d’écran, ligne, cercle, Caractère coloré&#10;&#10;Le contenu généré par l’IA peut être incorrect.">
            <a:extLst>
              <a:ext uri="{FF2B5EF4-FFF2-40B4-BE49-F238E27FC236}">
                <a16:creationId xmlns:a16="http://schemas.microsoft.com/office/drawing/2014/main" id="{824D049F-2D73-0455-9209-C3C64B0B1D3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03673" y="1480322"/>
            <a:ext cx="5841715" cy="3209464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E1EF9DBC-51DE-09D4-0A54-776D17C4696C}"/>
              </a:ext>
            </a:extLst>
          </p:cNvPr>
          <p:cNvSpPr txBox="1"/>
          <p:nvPr/>
        </p:nvSpPr>
        <p:spPr>
          <a:xfrm>
            <a:off x="6950447" y="1765701"/>
            <a:ext cx="5794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1</a:t>
            </a:r>
            <a:endParaRPr kumimoji="0" lang="ar-MA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3C4A1C35-E979-38A1-DE80-F873F91C65DE}"/>
              </a:ext>
            </a:extLst>
          </p:cNvPr>
          <p:cNvSpPr txBox="1"/>
          <p:nvPr/>
        </p:nvSpPr>
        <p:spPr>
          <a:xfrm>
            <a:off x="6504964" y="2844225"/>
            <a:ext cx="4740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2</a:t>
            </a:r>
            <a:endParaRPr kumimoji="0" lang="ar-MA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B33F7956-F586-560F-4889-0ADBEAE05398}"/>
              </a:ext>
            </a:extLst>
          </p:cNvPr>
          <p:cNvSpPr txBox="1"/>
          <p:nvPr/>
        </p:nvSpPr>
        <p:spPr>
          <a:xfrm>
            <a:off x="5893943" y="3835657"/>
            <a:ext cx="8480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3</a:t>
            </a:r>
            <a:endParaRPr kumimoji="0" lang="ar-MA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01BF1ED2-BCBC-F685-F54F-B8AAD2F48DC7}"/>
              </a:ext>
            </a:extLst>
          </p:cNvPr>
          <p:cNvSpPr txBox="1"/>
          <p:nvPr/>
        </p:nvSpPr>
        <p:spPr>
          <a:xfrm>
            <a:off x="3411794" y="1919628"/>
            <a:ext cx="33301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6585"/>
              </a:buClr>
              <a:buSzPts val="2400"/>
              <a:buFont typeface="Calibri"/>
              <a:buNone/>
              <a:tabLst/>
              <a:defRPr/>
            </a:pPr>
            <a:r>
              <a:rPr kumimoji="0" lang="ar-MA" sz="24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عَدَدُ ٱلصَّفَحاتِ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968314A3-C66C-B57E-4D05-48495929727C}"/>
              </a:ext>
            </a:extLst>
          </p:cNvPr>
          <p:cNvSpPr txBox="1"/>
          <p:nvPr/>
        </p:nvSpPr>
        <p:spPr>
          <a:xfrm>
            <a:off x="2998058" y="2886445"/>
            <a:ext cx="33301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6585"/>
              </a:buClr>
              <a:buSzPts val="2400"/>
              <a:buFont typeface="Calibri"/>
              <a:buNone/>
              <a:tabLst/>
              <a:defRPr/>
            </a:pPr>
            <a:r>
              <a:rPr kumimoji="0" lang="ar-MA" sz="24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عَدَدُ ٱلْأَجْزاءِ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18A1D6B5-2EB2-EB52-951D-3D8329E86CF0}"/>
              </a:ext>
            </a:extLst>
          </p:cNvPr>
          <p:cNvSpPr txBox="1"/>
          <p:nvPr/>
        </p:nvSpPr>
        <p:spPr>
          <a:xfrm>
            <a:off x="2385628" y="3846971"/>
            <a:ext cx="32775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6585"/>
              </a:buClr>
              <a:buSzPts val="2400"/>
              <a:buFont typeface="Calibri"/>
              <a:buNone/>
              <a:tabLst/>
              <a:defRPr/>
            </a:pPr>
            <a:r>
              <a:rPr kumimoji="0" lang="ar-MA" sz="24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اَلنَّوْعُ</a:t>
            </a:r>
          </a:p>
        </p:txBody>
      </p:sp>
      <p:pic>
        <p:nvPicPr>
          <p:cNvPr id="13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F55D1D0A-B0CF-732D-08EA-0E8E6559AE7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106425"/>
      </p:ext>
    </p:extLst>
  </p:cSld>
  <p:clrMapOvr>
    <a:masterClrMapping/>
  </p:clrMapOvr>
  <p:transition spd="slow"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E7D579-3F37-1EF9-76F7-654A052C1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livre, texte, conception&#10;&#10;Description générée automatiquement">
            <a:extLst>
              <a:ext uri="{FF2B5EF4-FFF2-40B4-BE49-F238E27FC236}">
                <a16:creationId xmlns:a16="http://schemas.microsoft.com/office/drawing/2014/main" id="{B87FE15E-DAB1-90E7-FC97-C68BFFA80D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039" y="4689786"/>
            <a:ext cx="3715935" cy="1916029"/>
          </a:xfrm>
          <a:prstGeom prst="rect">
            <a:avLst/>
          </a:prstGeom>
        </p:spPr>
      </p:pic>
      <p:sp>
        <p:nvSpPr>
          <p:cNvPr id="24" name="Titre 23">
            <a:extLst>
              <a:ext uri="{FF2B5EF4-FFF2-40B4-BE49-F238E27FC236}">
                <a16:creationId xmlns:a16="http://schemas.microsoft.com/office/drawing/2014/main" id="{34749567-F12F-2781-7F28-DF8A15634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5196"/>
            <a:ext cx="6840000" cy="612000"/>
          </a:xfrm>
        </p:spPr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ثالثا : أتصفح محتوى الكتاب لأحدد عدد صفحاته – عدد أجزائه ونوعه (رواية – كتاب علوم – مسرحية – ديوان شعري...). 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41E7D8F-0D85-3554-2EB1-FCE4E6C310A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17F538C-7AE1-621B-D442-C84961D5E0F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E8E6B03F-A8C3-D150-0F19-FD31F2C576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1D0EB1A-133C-A49D-FEBF-3A98CC99BD80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7587D21-A0CD-907F-49B4-91344A8DD815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009C4F-6315-5D03-6E14-09443016785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F141C9-C49F-BBC6-C5CA-6133D0818410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2962C8-E7C2-295E-BFBC-0E40F45FF3C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28" name="Image 27" descr="Une image contenant capture d’écran, ligne, cercle, Caractère coloré&#10;&#10;Le contenu généré par l’IA peut être incorrect.">
            <a:extLst>
              <a:ext uri="{FF2B5EF4-FFF2-40B4-BE49-F238E27FC236}">
                <a16:creationId xmlns:a16="http://schemas.microsoft.com/office/drawing/2014/main" id="{2F14FE21-EB0F-7B3D-C3F1-66D304ED0A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03673" y="1480322"/>
            <a:ext cx="5841715" cy="3209464"/>
          </a:xfrm>
          <a:prstGeom prst="rect">
            <a:avLst/>
          </a:prstGeom>
        </p:spPr>
      </p:pic>
      <p:sp>
        <p:nvSpPr>
          <p:cNvPr id="34" name="ZoneTexte 33">
            <a:extLst>
              <a:ext uri="{FF2B5EF4-FFF2-40B4-BE49-F238E27FC236}">
                <a16:creationId xmlns:a16="http://schemas.microsoft.com/office/drawing/2014/main" id="{345773E5-35B4-48BE-0EC2-A2A939886798}"/>
              </a:ext>
            </a:extLst>
          </p:cNvPr>
          <p:cNvSpPr txBox="1"/>
          <p:nvPr/>
        </p:nvSpPr>
        <p:spPr>
          <a:xfrm>
            <a:off x="6950447" y="1765701"/>
            <a:ext cx="5794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1</a:t>
            </a:r>
            <a:endParaRPr kumimoji="0" lang="ar-MA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7C919151-A343-A26B-3498-DF1446FF92E5}"/>
              </a:ext>
            </a:extLst>
          </p:cNvPr>
          <p:cNvSpPr txBox="1"/>
          <p:nvPr/>
        </p:nvSpPr>
        <p:spPr>
          <a:xfrm>
            <a:off x="6504964" y="2844225"/>
            <a:ext cx="4740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2</a:t>
            </a:r>
            <a:endParaRPr kumimoji="0" lang="ar-MA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1F81E419-D360-B4AB-51BE-03FDF7DA7285}"/>
              </a:ext>
            </a:extLst>
          </p:cNvPr>
          <p:cNvSpPr txBox="1"/>
          <p:nvPr/>
        </p:nvSpPr>
        <p:spPr>
          <a:xfrm>
            <a:off x="5893943" y="3835657"/>
            <a:ext cx="8480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3</a:t>
            </a:r>
            <a:endParaRPr kumimoji="0" lang="ar-MA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3C9E648C-EF82-12F5-213F-06A02499E2E8}"/>
              </a:ext>
            </a:extLst>
          </p:cNvPr>
          <p:cNvSpPr txBox="1"/>
          <p:nvPr/>
        </p:nvSpPr>
        <p:spPr>
          <a:xfrm>
            <a:off x="3411794" y="1919628"/>
            <a:ext cx="33301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6585"/>
              </a:buClr>
              <a:buSzPts val="2400"/>
              <a:buFont typeface="Calibri"/>
              <a:buNone/>
              <a:tabLst/>
              <a:defRPr/>
            </a:pPr>
            <a:r>
              <a:rPr kumimoji="0" lang="ar-MA" sz="24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عَدَدُ ٱلصَّفَحاتِ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73953E9B-6A39-91BC-3132-BD3A6A2310D1}"/>
              </a:ext>
            </a:extLst>
          </p:cNvPr>
          <p:cNvSpPr txBox="1"/>
          <p:nvPr/>
        </p:nvSpPr>
        <p:spPr>
          <a:xfrm>
            <a:off x="2998058" y="2886445"/>
            <a:ext cx="33301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6585"/>
              </a:buClr>
              <a:buSzPts val="2400"/>
              <a:buFont typeface="Calibri"/>
              <a:buNone/>
              <a:tabLst/>
              <a:defRPr/>
            </a:pPr>
            <a:r>
              <a:rPr kumimoji="0" lang="ar-MA" sz="24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عَدَدُ ٱلْأَجْزاءِ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9ADCFE0-5425-0441-CEF0-7CFE50D31D8B}"/>
              </a:ext>
            </a:extLst>
          </p:cNvPr>
          <p:cNvSpPr txBox="1"/>
          <p:nvPr/>
        </p:nvSpPr>
        <p:spPr>
          <a:xfrm>
            <a:off x="2385628" y="3846971"/>
            <a:ext cx="32775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6585"/>
              </a:buClr>
              <a:buSzPts val="2400"/>
              <a:buFont typeface="Calibri"/>
              <a:buNone/>
              <a:tabLst/>
              <a:defRPr/>
            </a:pPr>
            <a:r>
              <a:rPr kumimoji="0" lang="ar-MA" sz="24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Calibri"/>
              </a:rPr>
              <a:t>اَلنَّوْعُ</a:t>
            </a:r>
          </a:p>
        </p:txBody>
      </p:sp>
      <p:pic>
        <p:nvPicPr>
          <p:cNvPr id="12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826C0156-E291-4D6A-FFB6-8F6213BB1BD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796413" cy="79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169437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305CEE-5B26-0578-4F48-F57D4C30E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ar-MA" sz="4800" dirty="0"/>
              <a:t>عند نهاية الحصة</a:t>
            </a:r>
            <a:endParaRPr lang="fr-MA" sz="4800" dirty="0">
              <a:solidFill>
                <a:srgbClr val="424D7A"/>
              </a:solidFill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C37B0FCE-6495-B955-EF1A-DE4214D89669}"/>
              </a:ext>
            </a:extLst>
          </p:cNvPr>
          <p:cNvGrpSpPr/>
          <p:nvPr/>
        </p:nvGrpSpPr>
        <p:grpSpPr>
          <a:xfrm>
            <a:off x="1224000" y="2725209"/>
            <a:ext cx="6696000" cy="890781"/>
            <a:chOff x="1331545" y="2851205"/>
            <a:chExt cx="6696000" cy="890781"/>
          </a:xfrm>
        </p:grpSpPr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99F8D8C7-9507-63CE-2AE3-DECE17F4B29F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31545" y="2851205"/>
              <a:ext cx="6696000" cy="890781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155B04E-3C3D-3F1A-E6EA-E9E57D0697FC}"/>
                </a:ext>
              </a:extLst>
            </p:cNvPr>
            <p:cNvSpPr/>
            <p:nvPr/>
          </p:nvSpPr>
          <p:spPr>
            <a:xfrm>
              <a:off x="1479176" y="3196519"/>
              <a:ext cx="478715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rtl="1"/>
              <a:endParaRPr lang="ar-MA" sz="28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7ACE52EA-E686-0295-6C37-F75BB849C1E8}"/>
              </a:ext>
            </a:extLst>
          </p:cNvPr>
          <p:cNvGrpSpPr/>
          <p:nvPr/>
        </p:nvGrpSpPr>
        <p:grpSpPr>
          <a:xfrm>
            <a:off x="1224000" y="3820182"/>
            <a:ext cx="6696000" cy="890781"/>
            <a:chOff x="1331545" y="2851205"/>
            <a:chExt cx="6696000" cy="890781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14F9AE84-3F8A-A221-AEB5-F192297F617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31545" y="2851205"/>
              <a:ext cx="6696000" cy="890781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D99DB0A-3584-9A33-BD4F-26F6665A6A55}"/>
                </a:ext>
              </a:extLst>
            </p:cNvPr>
            <p:cNvSpPr/>
            <p:nvPr/>
          </p:nvSpPr>
          <p:spPr>
            <a:xfrm>
              <a:off x="1331545" y="3187641"/>
              <a:ext cx="493478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rtl="1"/>
              <a:endParaRPr lang="ar-MA" sz="28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B43C3F9-6599-3EDA-E1AE-D7611648D265}"/>
              </a:ext>
            </a:extLst>
          </p:cNvPr>
          <p:cNvGrpSpPr/>
          <p:nvPr/>
        </p:nvGrpSpPr>
        <p:grpSpPr>
          <a:xfrm>
            <a:off x="1224000" y="4870767"/>
            <a:ext cx="6696000" cy="890781"/>
            <a:chOff x="1331545" y="2851205"/>
            <a:chExt cx="6696000" cy="890781"/>
          </a:xfrm>
        </p:grpSpPr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43B1F021-E674-23A7-4837-8639585951E3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31545" y="2851205"/>
              <a:ext cx="6696000" cy="89078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34F9FC-7880-2B36-D784-E8067F81A8F8}"/>
                </a:ext>
              </a:extLst>
            </p:cNvPr>
            <p:cNvSpPr/>
            <p:nvPr/>
          </p:nvSpPr>
          <p:spPr>
            <a:xfrm>
              <a:off x="1479176" y="3178761"/>
              <a:ext cx="478715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rtl="1"/>
              <a:endParaRPr lang="ar-MA" sz="28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</p:grpSp>
      <p:sp>
        <p:nvSpPr>
          <p:cNvPr id="3" name="TextBox 9">
            <a:extLst>
              <a:ext uri="{FF2B5EF4-FFF2-40B4-BE49-F238E27FC236}">
                <a16:creationId xmlns:a16="http://schemas.microsoft.com/office/drawing/2014/main" id="{63D26F52-7563-ACFD-94CA-78D01409724C}"/>
              </a:ext>
            </a:extLst>
          </p:cNvPr>
          <p:cNvSpPr txBox="1"/>
          <p:nvPr/>
        </p:nvSpPr>
        <p:spPr>
          <a:xfrm>
            <a:off x="1484028" y="1939195"/>
            <a:ext cx="61759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spcAft>
                <a:spcPts val="600"/>
              </a:spcAft>
            </a:pPr>
            <a:r>
              <a:rPr lang="ar-MA" sz="3200" b="1" kern="0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على الأقل </a:t>
            </a:r>
            <a:r>
              <a:rPr lang="fr-FR" sz="3200" b="1" kern="0" dirty="0">
                <a:solidFill>
                  <a:schemeClr val="accent2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80%</a:t>
            </a:r>
            <a:r>
              <a:rPr lang="ar-MA" sz="3200" b="1" kern="0" dirty="0">
                <a:solidFill>
                  <a:schemeClr val="accent2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من المتعلمين </a:t>
            </a:r>
            <a:r>
              <a:rPr lang="ar-MA" sz="3200" b="1" kern="0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سيكونون قادرين على</a:t>
            </a:r>
            <a:r>
              <a:rPr lang="en-GB" sz="3200" b="1" kern="0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: </a:t>
            </a:r>
            <a:endParaRPr lang="fr-FR" sz="3200" b="1" kern="0" dirty="0">
              <a:solidFill>
                <a:srgbClr val="424D7B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334C4F-B92E-7E8C-DDF1-196F4A77E91B}"/>
              </a:ext>
            </a:extLst>
          </p:cNvPr>
          <p:cNvSpPr/>
          <p:nvPr/>
        </p:nvSpPr>
        <p:spPr>
          <a:xfrm>
            <a:off x="1484028" y="2981316"/>
            <a:ext cx="47871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MA" sz="28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تدرب على الكتابة من خلال نشاط دقيقة للكتابة ؛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EA9919A-E05B-8707-F736-00ABEFCE8731}"/>
              </a:ext>
            </a:extLst>
          </p:cNvPr>
          <p:cNvSpPr/>
          <p:nvPr/>
        </p:nvSpPr>
        <p:spPr>
          <a:xfrm>
            <a:off x="1484027" y="4083883"/>
            <a:ext cx="47871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MA" sz="28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فهم واستثمار نص "مريم أمجون أيقونة اللغة العربية"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AEB519-22D2-C3B2-F1C0-3F1BFCE611F8}"/>
              </a:ext>
            </a:extLst>
          </p:cNvPr>
          <p:cNvSpPr/>
          <p:nvPr/>
        </p:nvSpPr>
        <p:spPr>
          <a:xfrm>
            <a:off x="1619879" y="5151548"/>
            <a:ext cx="47871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MA" sz="28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توقع مضمون قصة والتحقق منه.</a:t>
            </a:r>
          </a:p>
        </p:txBody>
      </p:sp>
    </p:spTree>
    <p:extLst>
      <p:ext uri="{BB962C8B-B14F-4D97-AF65-F5344CB8AC3E}">
        <p14:creationId xmlns:p14="http://schemas.microsoft.com/office/powerpoint/2010/main" val="1569938183"/>
      </p:ext>
    </p:extLst>
  </p:cSld>
  <p:clrMapOvr>
    <a:masterClrMapping/>
  </p:clrMapOvr>
  <p:transition spd="slow"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C6501-FD10-635E-A480-66FD58EDB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Google Shape;1138;p44">
            <a:extLst>
              <a:ext uri="{FF2B5EF4-FFF2-40B4-BE49-F238E27FC236}">
                <a16:creationId xmlns:a16="http://schemas.microsoft.com/office/drawing/2014/main" id="{AFFC23FF-0582-E48A-D1A4-B8DBCD4E34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917171"/>
              </p:ext>
            </p:extLst>
          </p:nvPr>
        </p:nvGraphicFramePr>
        <p:xfrm>
          <a:off x="518294" y="1898723"/>
          <a:ext cx="8107412" cy="4293463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53215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5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36708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توقعاتي حول مضمون الكتاب: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100" marR="3710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3831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تخطيط للقراءة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7844">
                <a:tc>
                  <a:txBody>
                    <a:bodyPr/>
                    <a:lstStyle/>
                    <a:p>
                      <a:pPr marL="0" marR="0" lvl="0" indent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دد الصفحات التي ستتم قراءتها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أسبوع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7844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...........................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أول 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5676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.........................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ثاني 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5676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............................................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2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أسبوع الثالث</a:t>
                      </a:r>
                      <a:endParaRPr kumimoji="0" sz="2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3448099305"/>
                  </a:ext>
                </a:extLst>
              </a:tr>
            </a:tbl>
          </a:graphicData>
        </a:graphic>
      </p:graphicFrame>
      <p:sp>
        <p:nvSpPr>
          <p:cNvPr id="18" name="Titre 17">
            <a:extLst>
              <a:ext uri="{FF2B5EF4-FFF2-40B4-BE49-F238E27FC236}">
                <a16:creationId xmlns:a16="http://schemas.microsoft.com/office/drawing/2014/main" id="{2F81547C-322E-0F63-9978-434A61FD6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خيرا : أسجل توقعي من خلال تصفحي للكتاب و أضع برنامجا منظما لقراءته.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89D88A7-CB0D-5DED-7408-483FF3577DE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4E3966B4-A32B-BA85-A68F-91AE49AA54A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6EE3049-5E9C-8A79-F8F0-066F49648C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F37DDE9-2F5B-E37A-D552-FEBB98CCFF8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49988FC-3CC0-9529-4488-2D716B31E4F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8F0AD8-98BE-3566-E4CF-423DBD26822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9015B5-7885-362C-9C85-A090BABCE39D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F2CE28-E202-6694-50C9-43B845EE3CA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2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FECA616C-A575-4236-513F-198F6FB7520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1" y="684213"/>
            <a:ext cx="898782" cy="89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272402"/>
      </p:ext>
    </p:extLst>
  </p:cSld>
  <p:clrMapOvr>
    <a:masterClrMapping/>
  </p:clrMapOvr>
  <p:transition spd="slow"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C8B86-6E31-64F9-E1E4-B7A54F3370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Google Shape;1138;p44">
            <a:extLst>
              <a:ext uri="{FF2B5EF4-FFF2-40B4-BE49-F238E27FC236}">
                <a16:creationId xmlns:a16="http://schemas.microsoft.com/office/drawing/2014/main" id="{68DA2E6B-5719-62D7-B86E-D916BA7FBC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7070732"/>
              </p:ext>
            </p:extLst>
          </p:nvPr>
        </p:nvGraphicFramePr>
        <p:xfrm>
          <a:off x="520147" y="1820848"/>
          <a:ext cx="7404102" cy="4764504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48599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4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8524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نوان الكتاب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ؤلف الكتاب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دد صفحاته / عدد أجزائه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Calibri"/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تاريخ النشر والناشر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نوع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تاريخ الشروع في القراءة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9534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توقعاتي حول مضمون الكتاب: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100" marR="3710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8524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تخطيط للقراءة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دد الصفحات التي ستتم قراءتها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أسبوع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أول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8524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..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ثاني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8" name="Titre 17">
            <a:extLst>
              <a:ext uri="{FF2B5EF4-FFF2-40B4-BE49-F238E27FC236}">
                <a16:creationId xmlns:a16="http://schemas.microsoft.com/office/drawing/2014/main" id="{D51FCEF8-9816-B28B-4B41-D5EFD24B7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 حان دوركم. ستقومون بتعبئة جذاذة القراءة على دفاتركم. 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lang="ar-MA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يمكن طبع نماذج لجذاذة القراءة كلما كان ذلك متاحا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. 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068F79A-B8D3-E2B3-C5E4-D855B1EC1FD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C8BA2D8-3166-602C-9F7B-9C1E66F057B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4D80448-2E54-5EAD-9AB2-5B3138D06E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CF3E350-67F3-DA78-E29B-02F256D481E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315A6C7-7011-5784-6729-54A0D42FF77C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D6AC7A-B6F7-07B5-F2A8-461FD13CF6F5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5DE31-6E95-04E9-9CBC-0339F216CEF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A198FA-63B7-941E-C4E8-7944CDE764C9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2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0CD3C08E-DFC9-D898-9046-A4891E44EDE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338084"/>
      </p:ext>
    </p:extLst>
  </p:cSld>
  <p:clrMapOvr>
    <a:masterClrMapping/>
  </p:clrMapOvr>
  <p:transition spd="slow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7C2BF-38FB-C8A6-425D-A013D6879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>
            <a:extLst>
              <a:ext uri="{FF2B5EF4-FFF2-40B4-BE49-F238E27FC236}">
                <a16:creationId xmlns:a16="http://schemas.microsoft.com/office/drawing/2014/main" id="{0CE85E57-F41D-B7DB-D7B8-EF3D579BA8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5965" y="1828799"/>
            <a:ext cx="3597779" cy="4407895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F139C1D6-238E-EF59-D44A-2F0216B237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554" y="1828799"/>
            <a:ext cx="3357836" cy="4407895"/>
          </a:xfrm>
          <a:prstGeom prst="rect">
            <a:avLst/>
          </a:prstGeom>
        </p:spPr>
      </p:pic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0D1BD38-24F3-5188-8ACD-748C448E5965}"/>
              </a:ext>
            </a:extLst>
          </p:cNvPr>
          <p:cNvSpPr/>
          <p:nvPr/>
        </p:nvSpPr>
        <p:spPr>
          <a:xfrm>
            <a:off x="2996072" y="5922988"/>
            <a:ext cx="1300715" cy="242347"/>
          </a:xfrm>
          <a:prstGeom prst="roundRect">
            <a:avLst>
              <a:gd name="adj" fmla="val 50000"/>
            </a:avLst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ar-MA" sz="1400" b="1" dirty="0"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16 صَفْحَةً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95BB484D-9053-AEC5-9F93-D985A8C9E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تقومون بتعبئة عناصر الكتاب من خلال محتويات الغلاف </a:t>
            </a:r>
            <a:b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</a:br>
            <a:r>
              <a:rPr kumimoji="0" lang="ar-MA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تتم الاستعانة بكتاب أو قصة من مكتبة القسم أو مكتبة المدرسة حسب ما هو متاح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.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16DEB2F-F402-ADEA-4345-DF5181A8D88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7195765-71FB-DFDB-E832-726DE9540BF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4F9A46A1-76BE-6DDC-293B-251984D3D5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6A7DE79-9ADE-971E-E091-527C7EA714F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86F396A-92C7-E6BC-F100-E949C79BBCD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37EBB0-7897-CC6C-FC98-B01750D58E1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0B5616-FDBA-93CA-EF69-F0CDDD6D8FD0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722CEE-D028-4002-8F6B-54275732157C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3" name="Espace réservé pour une image  12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4E6A6A88-2060-8CE8-48F0-1E177691567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22884"/>
      </p:ext>
    </p:extLst>
  </p:cSld>
  <p:clrMapOvr>
    <a:masterClrMapping/>
  </p:clrMapOvr>
  <p:transition spd="slow"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91472B-8429-015E-6CE1-8A582488F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>
            <a:extLst>
              <a:ext uri="{FF2B5EF4-FFF2-40B4-BE49-F238E27FC236}">
                <a16:creationId xmlns:a16="http://schemas.microsoft.com/office/drawing/2014/main" id="{2A949C13-B1C7-B5AF-CC69-D50ED6F2BD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1054" y="1783332"/>
            <a:ext cx="3598230" cy="4408447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2EBE12F5-DDB2-C83E-C16D-0B9EAC752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658" y="1783332"/>
            <a:ext cx="3358257" cy="4408447"/>
          </a:xfrm>
          <a:prstGeom prst="rect">
            <a:avLst/>
          </a:prstGeom>
        </p:spPr>
      </p:pic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1B6FB131-E905-2392-B670-1B7669BA37BE}"/>
              </a:ext>
            </a:extLst>
          </p:cNvPr>
          <p:cNvSpPr/>
          <p:nvPr/>
        </p:nvSpPr>
        <p:spPr>
          <a:xfrm>
            <a:off x="3019926" y="5859378"/>
            <a:ext cx="1300715" cy="242347"/>
          </a:xfrm>
          <a:prstGeom prst="roundRect">
            <a:avLst>
              <a:gd name="adj" fmla="val 50000"/>
            </a:avLst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16 صَفْحَةً</a:t>
            </a:r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94D40F0E-DD22-75B9-490D-8EAD51BB8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.</a:t>
            </a:r>
            <a:endParaRPr lang="fr-FR" sz="2400" dirty="0"/>
          </a:p>
        </p:txBody>
      </p:sp>
      <p:pic>
        <p:nvPicPr>
          <p:cNvPr id="12" name="Espace réservé pour une image  11">
            <a:extLst>
              <a:ext uri="{FF2B5EF4-FFF2-40B4-BE49-F238E27FC236}">
                <a16:creationId xmlns:a16="http://schemas.microsoft.com/office/drawing/2014/main" id="{CD6ECFA0-A86E-7F9F-2DF0-0D227CECE5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616885"/>
            <a:ext cx="792000" cy="792000"/>
          </a:xfr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609CE7A-61A2-0F7B-F817-EA20059B468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A55B4680-B800-1882-B0CF-EDA76C08A6A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60D977A-CED3-BEA6-F7C9-38A0A0AA6E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7A70080-69E0-4E88-160F-54F2E0942123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F14CB59-AA5E-EB5B-4F5D-740D55C27BAE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3CB3D5-9D4E-B139-47FE-643636679F37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311DE9-DB54-BC4B-CACF-54A667719EFE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A8C3B7-CB34-22D9-0904-D2F4F401AF29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1176360880"/>
      </p:ext>
    </p:extLst>
  </p:cSld>
  <p:clrMapOvr>
    <a:masterClrMapping/>
  </p:clrMapOvr>
  <p:transition spd="slow"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D9BD29-DA82-0BCB-7F73-212867BC2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oogle Shape;1138;p44">
            <a:extLst>
              <a:ext uri="{FF2B5EF4-FFF2-40B4-BE49-F238E27FC236}">
                <a16:creationId xmlns:a16="http://schemas.microsoft.com/office/drawing/2014/main" id="{0CE6B894-6B6C-7D83-738A-6A7E919AD6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9961364"/>
              </p:ext>
            </p:extLst>
          </p:nvPr>
        </p:nvGraphicFramePr>
        <p:xfrm>
          <a:off x="622569" y="1677724"/>
          <a:ext cx="7152862" cy="4830406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46950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837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نوان الكتاب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مؤلف الكتاب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دد صفحاته / عدد أجزائه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Calibri"/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تاريخ النشر والناشر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نوع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تاريخ الشروع في القراءة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95436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توقعاتي حول مضمون الكتاب: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.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</a:endParaRPr>
                    </a:p>
                  </a:txBody>
                  <a:tcPr marL="37100" marR="3710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7837"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تخطيط للقراءة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عدد الصفحات التي ستتم قراءتها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  <a:sym typeface="Calibri"/>
                        </a:rPr>
                        <a:t>الأسبوع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أول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7837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 ...................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0" lang="ar-MA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Uighur" panose="02000000000000000000" pitchFamily="2" charset="-78"/>
                          <a:ea typeface="Calibri" panose="020F0502020204030204" pitchFamily="34" charset="0"/>
                          <a:cs typeface="Microsoft Uighur" panose="02000000000000000000" pitchFamily="2" charset="-78"/>
                        </a:rPr>
                        <a:t>الأسبوع الثاني </a:t>
                      </a:r>
                      <a:endParaRPr kumimoji="0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Uighur" panose="02000000000000000000" pitchFamily="2" charset="-78"/>
                        <a:ea typeface="Calibri" panose="020F0502020204030204" pitchFamily="34" charset="0"/>
                        <a:cs typeface="Microsoft Uighur" panose="02000000000000000000" pitchFamily="2" charset="-78"/>
                        <a:sym typeface="Calibri"/>
                      </a:endParaRPr>
                    </a:p>
                  </a:txBody>
                  <a:tcPr marL="37100" marR="3710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0" name="Titre 19">
            <a:extLst>
              <a:ext uri="{FF2B5EF4-FFF2-40B4-BE49-F238E27FC236}">
                <a16:creationId xmlns:a16="http://schemas.microsoft.com/office/drawing/2014/main" id="{E44FDB39-EB0B-D64D-017A-4D953B848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منكم يقوم لتقديم جذاذة القراءة؟</a:t>
            </a:r>
            <a:endParaRPr lang="fr-FR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FBAA272A-4D2C-D6C1-F2F9-6B2373933EB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41EB7F1-DDCE-E666-4DA4-5BAD856CDEF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A25CD2A-89DF-D7DC-F102-5423C0C6F4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24E17943-5CB0-E136-6FC9-72C2D090466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7856E0E-6F70-2BBA-3254-688E94DD9890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55117A-2D2E-D34B-C3F1-7B53B1AA4B3F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94BD89-BF71-3943-8777-F96AD4B9831C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6CCA87-6C02-98F7-D87F-EF6389D4DEF4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3" name="Espace réservé pour une image  11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2A0BB71F-889E-1455-4FC8-56D0BEB582B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1" y="684213"/>
            <a:ext cx="845574" cy="845573"/>
          </a:xfrm>
        </p:spPr>
      </p:pic>
    </p:spTree>
    <p:extLst>
      <p:ext uri="{BB962C8B-B14F-4D97-AF65-F5344CB8AC3E}">
        <p14:creationId xmlns:p14="http://schemas.microsoft.com/office/powerpoint/2010/main" val="2719846038"/>
      </p:ext>
    </p:extLst>
  </p:cSld>
  <p:clrMapOvr>
    <a:masterClrMapping/>
  </p:clrMapOvr>
  <p:transition spd="slow"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4FDA06-B23A-D621-423D-643242FEC3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3">
            <a:extLst>
              <a:ext uri="{FF2B5EF4-FFF2-40B4-BE49-F238E27FC236}">
                <a16:creationId xmlns:a16="http://schemas.microsoft.com/office/drawing/2014/main" id="{B892232F-2C5A-0A9D-2250-6AC8C408FF79}"/>
              </a:ext>
            </a:extLst>
          </p:cNvPr>
          <p:cNvSpPr txBox="1">
            <a:spLocks/>
          </p:cNvSpPr>
          <p:nvPr/>
        </p:nvSpPr>
        <p:spPr>
          <a:xfrm>
            <a:off x="637196" y="1472652"/>
            <a:ext cx="7886700" cy="720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اختتام الحصة</a:t>
            </a:r>
            <a:endParaRPr kumimoji="0" lang="fr-MA" sz="44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03101C6-BF6B-2F71-435A-2D0B8F5394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7804" y="1616652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10" name="Image 9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F5EEABF2-E7F5-5D49-6EB5-4C3D95BF8C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96" y="2743200"/>
            <a:ext cx="7542707" cy="2498148"/>
          </a:xfrm>
          <a:prstGeom prst="rect">
            <a:avLst/>
          </a:prstGeom>
        </p:spPr>
      </p:pic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F867C460-085A-81C4-E42C-F362671287D1}"/>
              </a:ext>
            </a:extLst>
          </p:cNvPr>
          <p:cNvSpPr txBox="1">
            <a:spLocks/>
          </p:cNvSpPr>
          <p:nvPr/>
        </p:nvSpPr>
        <p:spPr>
          <a:xfrm>
            <a:off x="2322000" y="3817163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buClr>
                <a:srgbClr val="424D7B"/>
              </a:buClr>
              <a:buSzPct val="50000"/>
            </a:pPr>
            <a:r>
              <a:rPr lang="ar-MA" sz="32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ماذا تعلمتم اليوم؟ </a:t>
            </a:r>
          </a:p>
          <a:p>
            <a:pPr algn="r" rtl="1">
              <a:buClr>
                <a:srgbClr val="424D7B"/>
              </a:buClr>
              <a:buSzPct val="50000"/>
            </a:pPr>
            <a:r>
              <a:rPr lang="ar-MA" sz="3200" b="1" dirty="0">
                <a:solidFill>
                  <a:srgbClr val="B1EDEA"/>
                </a:solidFill>
                <a:cs typeface="Microsoft Uighur" panose="02000000000000000000" pitchFamily="2" charset="-78"/>
              </a:rPr>
              <a:t>واجباتكم المنزلية.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48532D9-994E-68F4-EFE1-BB90C48A129A}"/>
              </a:ext>
            </a:extLst>
          </p:cNvPr>
          <p:cNvSpPr txBox="1"/>
          <p:nvPr/>
        </p:nvSpPr>
        <p:spPr>
          <a:xfrm>
            <a:off x="2578720" y="3040837"/>
            <a:ext cx="4750904" cy="604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اختتام الحصة</a:t>
            </a:r>
            <a:endParaRPr kumimoji="0" lang="fr-MA" sz="36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919381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F2A9F-8B04-FB5B-73EF-91D5D1F2A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D2C248-2BE8-0F9D-ADD4-487823563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rtl="0"/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ى اللقاء في الحصة المقبلة </a:t>
            </a:r>
            <a:endParaRPr lang="fr-FR" sz="2400" dirty="0"/>
          </a:p>
        </p:txBody>
      </p:sp>
      <p:pic>
        <p:nvPicPr>
          <p:cNvPr id="10" name="Espace réservé pour une image  15" descr="Une image contenant accessoire, sac, Bagages et sacs, Bagage à main&#10;&#10;Le contenu généré par l’IA peut être incorrect.">
            <a:extLst>
              <a:ext uri="{FF2B5EF4-FFF2-40B4-BE49-F238E27FC236}">
                <a16:creationId xmlns:a16="http://schemas.microsoft.com/office/drawing/2014/main" id="{EE669115-8E6D-9F69-0835-1BDFDD96635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59600" y="756000"/>
            <a:ext cx="792000" cy="792000"/>
          </a:xfrm>
        </p:spPr>
      </p:pic>
      <p:pic>
        <p:nvPicPr>
          <p:cNvPr id="11" name="اختتام الحصة5_1">
            <a:hlinkClick r:id="" action="ppaction://media"/>
            <a:extLst>
              <a:ext uri="{FF2B5EF4-FFF2-40B4-BE49-F238E27FC236}">
                <a16:creationId xmlns:a16="http://schemas.microsoft.com/office/drawing/2014/main" id="{9FA9BFE0-CBA5-D3C0-006D-9B875FC67EA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871663" y="2439988"/>
            <a:ext cx="5400675" cy="3038475"/>
          </a:xfrm>
          <a:prstGeom prst="rect">
            <a:avLst/>
          </a:prstGeom>
        </p:spPr>
      </p:pic>
      <p:pic>
        <p:nvPicPr>
          <p:cNvPr id="12" name="Image 1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5ABC2AE3-590E-16BC-8972-BB251DD0A43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32373" y="6241000"/>
            <a:ext cx="540000" cy="540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05F47DD3-4806-CD0B-03F7-4394F8CE556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8A43D26-5695-4728-42A2-FA6187177757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AC577ED-75D1-7528-3F22-6422EB70010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A9E93FC-A309-E692-7E4C-3C7619ED76D9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0B0AC9A-D1AA-4101-BAF3-A4D15040AF24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820406-E9B1-DFCA-082F-CD8F77B3FB2E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363F66-90C6-396B-A29A-DA8C6F204DC6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rtl="1"/>
            <a:r>
              <a:rPr lang="ar-MA" sz="2000" b="1" dirty="0">
                <a:solidFill>
                  <a:srgbClr val="565F88"/>
                </a:solidFill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072531-4E3E-0603-50C6-55BF903CCF3E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rtl="1"/>
            <a:r>
              <a:rPr lang="ar-MA" sz="2000" b="1" dirty="0">
                <a:solidFill>
                  <a:srgbClr val="565F88">
                    <a:alpha val="20000"/>
                  </a:srgbClr>
                </a:solidFill>
                <a:latin typeface="Microsoft Uighur" panose="02000000000000000000" pitchFamily="2" charset="-78"/>
                <a:ea typeface="Microsoft GothicNeo" panose="020B0503020000020004" pitchFamily="34" charset="-127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3580191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37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6037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15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28971-125A-CB14-DBFF-07A72BEBE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FA785B4-FE81-5515-1D56-7273EF2E0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rtl="0"/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رحبا بكم ، سنبدأ  حصة اللغة العربية.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8DA5BFA-3D52-19C3-BFD2-9274B9783F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5FB852-170A-2F86-5B1E-D0F394434C1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62A8FF37-7DFD-A9D2-E63D-26D75F184A5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5BF889F9-0E4A-0115-7C8B-AE73EA9D9AF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55F1B4B-88C8-FABD-D1FB-4B16B79791EB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1DC97F4-53D7-A57D-C05B-CA19DFA71EE2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1F517A-4A94-1577-0E2B-98BDB7FFF25A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66F0B6-248A-C19F-1864-4745B76AFCF6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7" name="Espace réservé pour une image  10">
            <a:extLst>
              <a:ext uri="{FF2B5EF4-FFF2-40B4-BE49-F238E27FC236}">
                <a16:creationId xmlns:a16="http://schemas.microsoft.com/office/drawing/2014/main" id="{53276F9C-E508-9254-F3C7-6269B145F26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371" r="-17371"/>
          <a:stretch>
            <a:fillRect/>
          </a:stretch>
        </p:blipFill>
        <p:spPr>
          <a:xfrm>
            <a:off x="1871663" y="2160588"/>
            <a:ext cx="5400675" cy="3598862"/>
          </a:xfrm>
          <a:prstGeom prst="roundRect">
            <a:avLst>
              <a:gd name="adj" fmla="val 11828"/>
            </a:avLst>
          </a:prstGeom>
        </p:spPr>
      </p:pic>
      <p:pic>
        <p:nvPicPr>
          <p:cNvPr id="8" name="Espace réservé pour une image  3">
            <a:extLst>
              <a:ext uri="{FF2B5EF4-FFF2-40B4-BE49-F238E27FC236}">
                <a16:creationId xmlns:a16="http://schemas.microsoft.com/office/drawing/2014/main" id="{635D2019-CB73-CD3E-BABB-ABE2B7DFED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59600" y="612000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93331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D470B-FA26-6AE1-8738-C686AAA82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>
            <a:extLst>
              <a:ext uri="{FF2B5EF4-FFF2-40B4-BE49-F238E27FC236}">
                <a16:creationId xmlns:a16="http://schemas.microsoft.com/office/drawing/2014/main" id="{57D1160E-6BA9-CC18-311F-F714FA7A3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ضعوا اللوحة و الكراسة في القمطر</a:t>
            </a:r>
            <a:endParaRPr lang="fr-FR" sz="2400" b="1" dirty="0">
              <a:solidFill>
                <a:prstClr val="white">
                  <a:lumMod val="65000"/>
                </a:prstClr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37" name="Espace réservé pour une image  4">
            <a:extLst>
              <a:ext uri="{FF2B5EF4-FFF2-40B4-BE49-F238E27FC236}">
                <a16:creationId xmlns:a16="http://schemas.microsoft.com/office/drawing/2014/main" id="{216546B4-85A1-E099-31EF-369926AD97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" r="88"/>
          <a:stretch>
            <a:fillRect/>
          </a:stretch>
        </p:blipFill>
        <p:spPr>
          <a:xfrm>
            <a:off x="7959600" y="624928"/>
            <a:ext cx="790603" cy="792000"/>
          </a:xfrm>
          <a:prstGeom prst="rect">
            <a:avLst/>
          </a:prstGeom>
        </p:spPr>
      </p:pic>
      <p:pic>
        <p:nvPicPr>
          <p:cNvPr id="2" name="Class AR_NV_05_1">
            <a:hlinkClick r:id="" action="ppaction://media"/>
            <a:extLst>
              <a:ext uri="{FF2B5EF4-FFF2-40B4-BE49-F238E27FC236}">
                <a16:creationId xmlns:a16="http://schemas.microsoft.com/office/drawing/2014/main" id="{5487C91C-F38E-2F59-05E1-35F9BF51548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052513" y="2160588"/>
            <a:ext cx="7038975" cy="3959225"/>
          </a:xfrm>
          <a:prstGeom prst="rect">
            <a:avLst/>
          </a:prstGeom>
        </p:spPr>
      </p:pic>
      <p:pic>
        <p:nvPicPr>
          <p:cNvPr id="4" name="Image 3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85FD31AB-F15F-A9C1-1309-9ECA671FB0B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13461" y="6186227"/>
            <a:ext cx="540000" cy="540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0E43CA6-44E6-A03D-2C90-A106647D7F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2E03BD05-7F6D-2C3E-FEC7-21C93EB85F07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C61A8BE-516C-048F-19C5-349592AADA2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6EFF4B5-45D8-14CA-D041-A27B368F7415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A600F56-4FF7-0497-7B54-58D9C2DDE433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C87B2C-7DFA-9E59-C640-674F38101513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A29516-ED01-653A-A621-B2D1A1373EB8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35D709C-FD24-CF2A-2CF5-6646A612CCAA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</p:spTree>
    <p:extLst>
      <p:ext uri="{BB962C8B-B14F-4D97-AF65-F5344CB8AC3E}">
        <p14:creationId xmlns:p14="http://schemas.microsoft.com/office/powerpoint/2010/main" val="22255231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10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163B6B-6F4E-8771-F279-71F6DAE291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53C56274-FD5B-4A6F-9276-55B9D80D3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830155"/>
            <a:ext cx="7886700" cy="720000"/>
          </a:xfrm>
        </p:spPr>
        <p:txBody>
          <a:bodyPr>
            <a:normAutofit/>
          </a:bodyPr>
          <a:lstStyle/>
          <a:p>
            <a:r>
              <a:rPr lang="ar-MA" sz="4000" dirty="0">
                <a:latin typeface="Dosis ExtraBold" pitchFamily="2" charset="0"/>
              </a:rPr>
              <a:t>أنشطة اعتيادية</a:t>
            </a:r>
            <a:endParaRPr lang="fr-MA" sz="4000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0" name="Image 19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809B6837-39D8-F147-B9C7-E1044EB249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53" y="2093053"/>
            <a:ext cx="7521137" cy="2429785"/>
          </a:xfrm>
          <a:prstGeom prst="rect">
            <a:avLst/>
          </a:prstGeom>
        </p:spPr>
      </p:pic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C7C4543C-3323-7EB3-5419-B0B53B2462F2}"/>
              </a:ext>
            </a:extLst>
          </p:cNvPr>
          <p:cNvSpPr txBox="1">
            <a:spLocks/>
          </p:cNvSpPr>
          <p:nvPr/>
        </p:nvSpPr>
        <p:spPr>
          <a:xfrm>
            <a:off x="2122822" y="3065620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buClr>
                <a:srgbClr val="424D7B"/>
              </a:buClr>
            </a:pPr>
            <a:r>
              <a:rPr lang="ar-MA" sz="24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دقيقة الكتابة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D24DA33-9035-0531-CED0-CDDEE2F9D9B6}"/>
              </a:ext>
            </a:extLst>
          </p:cNvPr>
          <p:cNvSpPr txBox="1"/>
          <p:nvPr/>
        </p:nvSpPr>
        <p:spPr>
          <a:xfrm>
            <a:off x="4680155" y="2430907"/>
            <a:ext cx="243193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R="0" lvl="0" indent="0" algn="r" defTabSz="914400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MA" dirty="0">
                <a:solidFill>
                  <a:srgbClr val="424D7B"/>
                </a:solidFill>
              </a:rPr>
              <a:t>  -  01 </a:t>
            </a:r>
            <a:r>
              <a:rPr lang="ar-MA" dirty="0">
                <a:solidFill>
                  <a:srgbClr val="424D7B"/>
                </a:solidFill>
              </a:rPr>
              <a:t>أنشطة </a:t>
            </a:r>
            <a:r>
              <a:rPr lang="ar-MA" sz="2800" dirty="0">
                <a:solidFill>
                  <a:srgbClr val="424D7B"/>
                </a:solidFill>
              </a:rPr>
              <a:t>اعتيادية</a:t>
            </a:r>
            <a:endParaRPr lang="ar-MA" dirty="0">
              <a:solidFill>
                <a:srgbClr val="424D7B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12519DA-2086-5593-1562-697BF63F4A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50151" y="2587945"/>
            <a:ext cx="762933" cy="756000"/>
          </a:xfrm>
          <a:prstGeom prst="rect">
            <a:avLst/>
          </a:prstGeom>
        </p:spPr>
      </p:pic>
      <p:pic>
        <p:nvPicPr>
          <p:cNvPr id="23" name="Espace réservé pour une image  20">
            <a:extLst>
              <a:ext uri="{FF2B5EF4-FFF2-40B4-BE49-F238E27FC236}">
                <a16:creationId xmlns:a16="http://schemas.microsoft.com/office/drawing/2014/main" id="{4AEF1909-87F9-2604-19EE-C3FC01846E8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60" r="-7560"/>
          <a:stretch>
            <a:fillRect/>
          </a:stretch>
        </p:blipFill>
        <p:spPr>
          <a:xfrm>
            <a:off x="536138" y="2281945"/>
            <a:ext cx="684000" cy="68400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6A5E070B-98CB-1336-71A7-99C3A11E0F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80124" y="974155"/>
            <a:ext cx="432000" cy="43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26320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673057-B35F-CDB2-0679-18F415F478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EB04166D-E8DD-9195-D0EC-BB30A1E348EC}"/>
              </a:ext>
            </a:extLst>
          </p:cNvPr>
          <p:cNvSpPr txBox="1"/>
          <p:nvPr/>
        </p:nvSpPr>
        <p:spPr>
          <a:xfrm>
            <a:off x="6758043" y="2441463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صَرَّ</a:t>
            </a:r>
            <a:endParaRPr dirty="0">
              <a:sym typeface="Calibri"/>
            </a:endParaRPr>
          </a:p>
        </p:txBody>
      </p:sp>
      <p:sp>
        <p:nvSpPr>
          <p:cNvPr id="14" name="Google Shape;452;p158">
            <a:extLst>
              <a:ext uri="{FF2B5EF4-FFF2-40B4-BE49-F238E27FC236}">
                <a16:creationId xmlns:a16="http://schemas.microsoft.com/office/drawing/2014/main" id="{0E70DB21-9FAC-E0C0-625C-0DED4D89626E}"/>
              </a:ext>
            </a:extLst>
          </p:cNvPr>
          <p:cNvSpPr txBox="1"/>
          <p:nvPr/>
        </p:nvSpPr>
        <p:spPr>
          <a:xfrm>
            <a:off x="4701975" y="2465449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صُّمودُ</a:t>
            </a:r>
            <a:endParaRPr dirty="0">
              <a:sym typeface="Calibri"/>
            </a:endParaRPr>
          </a:p>
        </p:txBody>
      </p:sp>
      <p:sp>
        <p:nvSpPr>
          <p:cNvPr id="15" name="Google Shape;452;p158">
            <a:extLst>
              <a:ext uri="{FF2B5EF4-FFF2-40B4-BE49-F238E27FC236}">
                <a16:creationId xmlns:a16="http://schemas.microsoft.com/office/drawing/2014/main" id="{F6A0CF46-29E0-07BC-5E19-A672EBFD84BF}"/>
              </a:ext>
            </a:extLst>
          </p:cNvPr>
          <p:cNvSpPr txBox="1"/>
          <p:nvPr/>
        </p:nvSpPr>
        <p:spPr>
          <a:xfrm>
            <a:off x="2719733" y="2445727"/>
            <a:ext cx="1785600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مُثابَرَةُ</a:t>
            </a:r>
            <a:endParaRPr dirty="0">
              <a:sym typeface="Calibri"/>
            </a:endParaRPr>
          </a:p>
        </p:txBody>
      </p:sp>
      <p:sp>
        <p:nvSpPr>
          <p:cNvPr id="17" name="Google Shape;452;p158">
            <a:extLst>
              <a:ext uri="{FF2B5EF4-FFF2-40B4-BE49-F238E27FC236}">
                <a16:creationId xmlns:a16="http://schemas.microsoft.com/office/drawing/2014/main" id="{B91CED2F-4623-35DD-97AD-449B4C9399F2}"/>
              </a:ext>
            </a:extLst>
          </p:cNvPr>
          <p:cNvSpPr txBox="1"/>
          <p:nvPr/>
        </p:nvSpPr>
        <p:spPr>
          <a:xfrm>
            <a:off x="664158" y="2474053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مُحاوَلَةُ</a:t>
            </a:r>
            <a:endParaRPr dirty="0">
              <a:sym typeface="Calibri"/>
            </a:endParaRPr>
          </a:p>
        </p:txBody>
      </p:sp>
      <p:sp>
        <p:nvSpPr>
          <p:cNvPr id="19" name="Google Shape;452;p158">
            <a:extLst>
              <a:ext uri="{FF2B5EF4-FFF2-40B4-BE49-F238E27FC236}">
                <a16:creationId xmlns:a16="http://schemas.microsoft.com/office/drawing/2014/main" id="{87C42240-56E9-52A2-5AB6-81AD286820C2}"/>
              </a:ext>
            </a:extLst>
          </p:cNvPr>
          <p:cNvSpPr txBox="1"/>
          <p:nvPr/>
        </p:nvSpPr>
        <p:spPr>
          <a:xfrm>
            <a:off x="6744693" y="4390757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Calibri"/>
              </a:rPr>
              <a:t>اَلتَّفَوُّقُ</a:t>
            </a:r>
            <a:endParaRPr dirty="0">
              <a:sym typeface="Calibri"/>
            </a:endParaRPr>
          </a:p>
        </p:txBody>
      </p:sp>
      <p:sp>
        <p:nvSpPr>
          <p:cNvPr id="20" name="Google Shape;452;p158">
            <a:extLst>
              <a:ext uri="{FF2B5EF4-FFF2-40B4-BE49-F238E27FC236}">
                <a16:creationId xmlns:a16="http://schemas.microsoft.com/office/drawing/2014/main" id="{300C59E9-C369-3DD3-BD10-2423F01201CB}"/>
              </a:ext>
            </a:extLst>
          </p:cNvPr>
          <p:cNvSpPr txBox="1"/>
          <p:nvPr/>
        </p:nvSpPr>
        <p:spPr>
          <a:xfrm>
            <a:off x="4688625" y="4395693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بَرَعَ</a:t>
            </a:r>
            <a:endParaRPr dirty="0">
              <a:sym typeface="Calibri"/>
            </a:endParaRPr>
          </a:p>
        </p:txBody>
      </p:sp>
      <p:sp>
        <p:nvSpPr>
          <p:cNvPr id="21" name="Google Shape;452;p158">
            <a:extLst>
              <a:ext uri="{FF2B5EF4-FFF2-40B4-BE49-F238E27FC236}">
                <a16:creationId xmlns:a16="http://schemas.microsoft.com/office/drawing/2014/main" id="{24C47711-B542-0084-87AF-702376294E3E}"/>
              </a:ext>
            </a:extLst>
          </p:cNvPr>
          <p:cNvSpPr txBox="1"/>
          <p:nvPr/>
        </p:nvSpPr>
        <p:spPr>
          <a:xfrm>
            <a:off x="2706383" y="4375971"/>
            <a:ext cx="1785600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شَغَفٌ</a:t>
            </a:r>
            <a:endParaRPr dirty="0">
              <a:sym typeface="Calibri"/>
            </a:endParaRPr>
          </a:p>
        </p:txBody>
      </p:sp>
      <p:sp>
        <p:nvSpPr>
          <p:cNvPr id="22" name="Google Shape;452;p158">
            <a:extLst>
              <a:ext uri="{FF2B5EF4-FFF2-40B4-BE49-F238E27FC236}">
                <a16:creationId xmlns:a16="http://schemas.microsoft.com/office/drawing/2014/main" id="{EB19E9E4-E24B-0BF6-3C45-F491AF2B8D04}"/>
              </a:ext>
            </a:extLst>
          </p:cNvPr>
          <p:cNvSpPr txBox="1"/>
          <p:nvPr/>
        </p:nvSpPr>
        <p:spPr>
          <a:xfrm>
            <a:off x="650808" y="4404297"/>
            <a:ext cx="1787045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MA" dirty="0">
                <a:sym typeface="Sakkal Majalla"/>
              </a:rPr>
              <a:t>تَشْجيعٌ</a:t>
            </a:r>
            <a:endParaRPr dirty="0">
              <a:sym typeface="Calibri"/>
            </a:endParaRP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83A850F1-364D-E513-32FA-5F48532E6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رأ هذه المفردات؟</a:t>
            </a:r>
            <a:endParaRPr lang="fr-FR" sz="24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161F00C-6154-37DB-85EB-74AFC9E086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18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9BBC180-9076-A51F-EDC3-30BA734638B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016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69E56AB0-2DEA-8F27-ABB5-644DC8D8E1E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8241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0E08979-F45B-EE5F-1234-7E52C2D1F3D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7559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2579533-B597-A343-D0DD-6018D43CEDAD}"/>
              </a:ext>
            </a:extLst>
          </p:cNvPr>
          <p:cNvSpPr>
            <a:spLocks/>
          </p:cNvSpPr>
          <p:nvPr/>
        </p:nvSpPr>
        <p:spPr>
          <a:xfrm>
            <a:off x="6610183" y="13177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C87D05-CC52-BECC-AB27-A33DBAE7615D}"/>
              </a:ext>
            </a:extLst>
          </p:cNvPr>
          <p:cNvSpPr>
            <a:spLocks/>
          </p:cNvSpPr>
          <p:nvPr/>
        </p:nvSpPr>
        <p:spPr>
          <a:xfrm>
            <a:off x="4805556" y="137421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وتوليف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57F412-4352-53F5-F136-9F20E35E8570}"/>
              </a:ext>
            </a:extLst>
          </p:cNvPr>
          <p:cNvSpPr>
            <a:spLocks/>
          </p:cNvSpPr>
          <p:nvPr/>
        </p:nvSpPr>
        <p:spPr>
          <a:xfrm>
            <a:off x="864331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7C6C5-280A-8AEE-F041-2E7E679AF919}"/>
              </a:ext>
            </a:extLst>
          </p:cNvPr>
          <p:cNvSpPr>
            <a:spLocks/>
          </p:cNvSpPr>
          <p:nvPr/>
        </p:nvSpPr>
        <p:spPr>
          <a:xfrm>
            <a:off x="2742759" y="126807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إثرائية</a:t>
            </a:r>
          </a:p>
        </p:txBody>
      </p:sp>
      <p:pic>
        <p:nvPicPr>
          <p:cNvPr id="18" name="Espace réservé pour une image  15">
            <a:extLst>
              <a:ext uri="{FF2B5EF4-FFF2-40B4-BE49-F238E27FC236}">
                <a16:creationId xmlns:a16="http://schemas.microsoft.com/office/drawing/2014/main" id="{D47E2836-8D18-FE4A-7F07-231BFF6DA96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684213"/>
            <a:ext cx="900113" cy="900112"/>
          </a:xfrm>
        </p:spPr>
      </p:pic>
    </p:spTree>
    <p:extLst>
      <p:ext uri="{BB962C8B-B14F-4D97-AF65-F5344CB8AC3E}">
        <p14:creationId xmlns:p14="http://schemas.microsoft.com/office/powerpoint/2010/main" val="21582748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0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3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9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2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5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8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 animBg="1"/>
      <p:bldP spid="15" grpId="0" animBg="1"/>
      <p:bldP spid="17" grpId="0" animBg="1"/>
      <p:bldP spid="19" grpId="0" animBg="1"/>
      <p:bldP spid="20" grpId="0" animBg="1"/>
      <p:bldP spid="21" grpId="0" animBg="1"/>
      <p:bldP spid="2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6302</TotalTime>
  <Words>1383</Words>
  <Application>Microsoft Office PowerPoint</Application>
  <PresentationFormat>Affichage à l'écran (4:3)</PresentationFormat>
  <Paragraphs>423</Paragraphs>
  <Slides>56</Slides>
  <Notes>0</Notes>
  <HiddenSlides>0</HiddenSlides>
  <MMClips>3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6</vt:i4>
      </vt:variant>
    </vt:vector>
  </HeadingPairs>
  <TitlesOfParts>
    <vt:vector size="76" baseType="lpstr">
      <vt:lpstr>Arial</vt:lpstr>
      <vt:lpstr>Calibri</vt:lpstr>
      <vt:lpstr>Calibri Light</vt:lpstr>
      <vt:lpstr>Dosis</vt:lpstr>
      <vt:lpstr>Dosis ExtraBold</vt:lpstr>
      <vt:lpstr>Dosis Medium</vt:lpstr>
      <vt:lpstr>Dosis SemiBold</vt:lpstr>
      <vt:lpstr>Microsoft Uighur</vt:lpstr>
      <vt:lpstr>Modern Love</vt:lpstr>
      <vt:lpstr>Sakkal Majalla</vt:lpstr>
      <vt:lpstr>Wingdings</vt:lpstr>
      <vt:lpstr>Thème Office</vt:lpstr>
      <vt:lpstr>3_Simple Light</vt:lpstr>
      <vt:lpstr>01- نشاط اعتيادي</vt:lpstr>
      <vt:lpstr>1_01- نشاط اعتيادي</vt:lpstr>
      <vt:lpstr>2_01- نشاط اعتيادي</vt:lpstr>
      <vt:lpstr>3_01- نشاط اعتيادي</vt:lpstr>
      <vt:lpstr>4_01- نشاط اعتيادي</vt:lpstr>
      <vt:lpstr>3_Env-Enseignant</vt:lpstr>
      <vt:lpstr>think-cell Slide</vt:lpstr>
      <vt:lpstr>Présentation PowerPoint</vt:lpstr>
      <vt:lpstr>Présentation PowerPoint</vt:lpstr>
      <vt:lpstr>تنظيم حصص الأسبوع</vt:lpstr>
      <vt:lpstr>هيكلة حصة اليوم</vt:lpstr>
      <vt:lpstr>عند نهاية الحصة</vt:lpstr>
      <vt:lpstr>مرحبا بكم ، سنبدأ  حصة اللغة العربية.</vt:lpstr>
      <vt:lpstr>ضعوا اللوحة و الكراسة في القمطر</vt:lpstr>
      <vt:lpstr>أنشطة اعتيادية</vt:lpstr>
      <vt:lpstr>من يقرأ هذه المفردات؟</vt:lpstr>
      <vt:lpstr>على دفاتركم : وفي ثنائيات. اكتبوا جملتين للتعبير عن النجاح  و التفوق في مجال ما كالدراسة أو الرياضة أو الفن؛ بتوظيف هذه المفردات.</vt:lpstr>
      <vt:lpstr> أمنحكم دقيقة للإنجاز . سوف أمر بين الصفوف لمساعدتكم.</vt:lpstr>
      <vt:lpstr>كل واحد يقدم لنا عمل مجموعته مع ذكر المفردات التي استخدمها</vt:lpstr>
      <vt:lpstr>مراجعة وتوليف</vt:lpstr>
      <vt:lpstr> سوف نشرع الآن في حصة المراجعة و التوليف</vt:lpstr>
      <vt:lpstr>أولا نصحح الواجب المنزلي</vt:lpstr>
      <vt:lpstr>نصحح السؤال الأول</vt:lpstr>
      <vt:lpstr>صححوا</vt:lpstr>
      <vt:lpstr>نصحح السؤال الثاني</vt:lpstr>
      <vt:lpstr>صححوا</vt:lpstr>
      <vt:lpstr>خذوا كراساتكم . سننجز أنشطة المراجعة والتوليف الواردة على  الصفحتين 18 و 19</vt:lpstr>
      <vt:lpstr>اقرؤوا نص "مريم امجون أيقونة اللغة العربية " قراءة صامتة ؛ بعد ذلك أجيبوا عن الأسئلة.  لديكم 3 دقائق</vt:lpstr>
      <vt:lpstr>أجيبوا فرديا عن السؤال الأول. لا تنسوا طرح أسئلة مناسبة من قبيل: ما فوائدها؟ أنواعها؟ مكانها المناسب؟ أوقاتها؟</vt:lpstr>
      <vt:lpstr>سأمر بين الصفوف لمساعدتكم</vt:lpstr>
      <vt:lpstr>صححوا؛ من يقدم لنا عمله؟</vt:lpstr>
      <vt:lpstr>أقترح عليكم هذا النموذج ؛ مارأيكم؟  صححوا.</vt:lpstr>
      <vt:lpstr>نواصل أنشطة المراجعة . ستجيبون عن أسئلة الفهم 1 و 2 و3 الواردة في الصفحة 19.</vt:lpstr>
      <vt:lpstr>سأمر بين الصفوف لمساعدتكم</vt:lpstr>
      <vt:lpstr>نصحح الآن.</vt:lpstr>
      <vt:lpstr>من يجيب عن السؤال الأول؟</vt:lpstr>
      <vt:lpstr>أقترح عليكم هذا الجواب. مارأيكم؟ صححوا</vt:lpstr>
      <vt:lpstr>من يقرأ جوابه عن السؤال الثاني؟</vt:lpstr>
      <vt:lpstr>أقترح عليكم هذا الجواب. مارأيكم؟ صححوا</vt:lpstr>
      <vt:lpstr>من يقرأ جوابه عن السؤال الثالث؟</vt:lpstr>
      <vt:lpstr>أقترح عليكم هذا الجواب. مارأيكم؟ صححوا</vt:lpstr>
      <vt:lpstr>الآن سنمر لأنشطة اللغة، اضبطوا الجملة في السؤال 4   بالشكل التام. يكتبها الأستاذ على السبورة.</vt:lpstr>
      <vt:lpstr>سأمر بين الصفوف لمساعدتكم.</vt:lpstr>
      <vt:lpstr>من يصحح؟</vt:lpstr>
      <vt:lpstr>صححوا أخطاءكم.</vt:lpstr>
      <vt:lpstr>نواصل . أجيبوا عن الأسئلة 5-6-7 .</vt:lpstr>
      <vt:lpstr>سأمر بين الصفوف لمساعدتكم.</vt:lpstr>
      <vt:lpstr>من يصحح السؤال 5؟</vt:lpstr>
      <vt:lpstr>صححوا أخطاءكم</vt:lpstr>
      <vt:lpstr>القراءة الإثرائية</vt:lpstr>
      <vt:lpstr>اليوم سنشرع في أول حصة للقراءة الإثرائية. ستتعلمون كيف تتصفحون الكتاب لتوقع مضمونه و التخطيط لقراءته.</vt:lpstr>
      <vt:lpstr>ستستعينون بجذاذة القراءة لتسجيل معلومات عن الكتاب و توقعاتكم  والتخطيط لقراءته.  </vt:lpstr>
      <vt:lpstr>انتبهوا معي سأقوم بتصفح كتاب قصد تعبئة جذاذة القراءة .  تتم الاستعانة بكتب أو قصص من مكتبة القسم أو مكتبة المدرسة حسب ما هو متاح.</vt:lpstr>
      <vt:lpstr>أولا اتصفح غلاف الكتاب وأقرأ محتوى الصفحة الأولى و الصفحة الأخيرة للغلاف . </vt:lpstr>
      <vt:lpstr>ثانيا : أبحث عن عنوان الكتاب و المؤلف و تاريخ النشر  و الناشر و أسجله على الجذاذة. </vt:lpstr>
      <vt:lpstr>ثالثا : أتصفح محتوى الكتاب لأحدد عدد صفحاته – عدد أجزائه ونوعه (رواية – كتاب علوم – مسرحية – ديوان شعري...). </vt:lpstr>
      <vt:lpstr>أخيرا : أسجل توقعي من خلال تصفحي للكتاب و أضع برنامجا منظما لقراءته.</vt:lpstr>
      <vt:lpstr>الآن حان دوركم. ستقومون بتعبئة جذاذة القراءة على دفاتركم.  يمكن طبع نماذج لجذاذة القراءة كلما كان ذلك متاحا. </vt:lpstr>
      <vt:lpstr>ستقومون بتعبئة عناصر الكتاب من خلال محتويات الغلاف  تتم الاستعانة بكتاب أو قصة من مكتبة القسم أو مكتبة المدرسة حسب ما هو متاح.</vt:lpstr>
      <vt:lpstr>سأمر بين الصفوف لمساعدتكم.</vt:lpstr>
      <vt:lpstr>من منكم يقوم لتقديم جذاذة القراءة؟</vt:lpstr>
      <vt:lpstr>Présentation PowerPoint</vt:lpstr>
      <vt:lpstr>إلى اللقاء في الحصة المقبلة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 HAMDOUNI BTIHAJ</dc:creator>
  <cp:lastModifiedBy>EL HAMDOUNI BTIHAJ</cp:lastModifiedBy>
  <cp:revision>156</cp:revision>
  <dcterms:created xsi:type="dcterms:W3CDTF">2023-09-20T21:35:22Z</dcterms:created>
  <dcterms:modified xsi:type="dcterms:W3CDTF">2025-10-30T23:43:23Z</dcterms:modified>
</cp:coreProperties>
</file>